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2" r:id="rId4"/>
    <p:sldMasterId id="2147483702" r:id="rId5"/>
    <p:sldMasterId id="2147483716" r:id="rId6"/>
    <p:sldMasterId id="2147483769" r:id="rId7"/>
    <p:sldMasterId id="2147483788" r:id="rId8"/>
    <p:sldMasterId id="2147483818" r:id="rId9"/>
    <p:sldMasterId id="2147483829" r:id="rId10"/>
    <p:sldMasterId id="2147483836" r:id="rId11"/>
    <p:sldMasterId id="2147483849" r:id="rId12"/>
  </p:sldMasterIdLst>
  <p:notesMasterIdLst>
    <p:notesMasterId r:id="rId32"/>
  </p:notesMasterIdLst>
  <p:handoutMasterIdLst>
    <p:handoutMasterId r:id="rId33"/>
  </p:handoutMasterIdLst>
  <p:sldIdLst>
    <p:sldId id="441" r:id="rId13"/>
    <p:sldId id="323" r:id="rId14"/>
    <p:sldId id="324" r:id="rId15"/>
    <p:sldId id="424" r:id="rId16"/>
    <p:sldId id="425" r:id="rId17"/>
    <p:sldId id="426" r:id="rId18"/>
    <p:sldId id="430" r:id="rId19"/>
    <p:sldId id="442" r:id="rId20"/>
    <p:sldId id="440" r:id="rId21"/>
    <p:sldId id="439" r:id="rId22"/>
    <p:sldId id="445" r:id="rId23"/>
    <p:sldId id="446" r:id="rId24"/>
    <p:sldId id="433" r:id="rId25"/>
    <p:sldId id="438" r:id="rId26"/>
    <p:sldId id="437" r:id="rId27"/>
    <p:sldId id="436" r:id="rId28"/>
    <p:sldId id="432" r:id="rId29"/>
    <p:sldId id="443" r:id="rId30"/>
    <p:sldId id="341" r:id="rId31"/>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ian Burns" initials="BB" lastIdx="1" clrIdx="0">
    <p:extLst>
      <p:ext uri="{19B8F6BF-5375-455C-9EA6-DF929625EA0E}">
        <p15:presenceInfo xmlns:p15="http://schemas.microsoft.com/office/powerpoint/2012/main" userId="Brian Burn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6925"/>
    <a:srgbClr val="F79F38"/>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708013-9B4E-4E42-A094-2C0A81DF99C4}" v="11" dt="2018-02-21T19:23:40.2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2" d="100"/>
          <a:sy n="142" d="100"/>
        </p:scale>
        <p:origin x="714" y="126"/>
      </p:cViewPr>
      <p:guideLst>
        <p:guide orient="horz" pos="1620"/>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microsoft.com/office/2015/10/relationships/revisionInfo" Target="revisionInfo.xml"/><Relationship Id="rId21" Type="http://schemas.openxmlformats.org/officeDocument/2006/relationships/slide" Target="slides/slide9.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12A9BEC-A258-AC41-B7C6-638594D509B8}" type="slidenum">
              <a:rPr lang="en-US" smtClean="0"/>
              <a:t>‹#›</a:t>
            </a:fld>
            <a:endParaRPr lang="en-US" dirty="0"/>
          </a:p>
        </p:txBody>
      </p:sp>
    </p:spTree>
    <p:extLst>
      <p:ext uri="{BB962C8B-B14F-4D97-AF65-F5344CB8AC3E}">
        <p14:creationId xmlns:p14="http://schemas.microsoft.com/office/powerpoint/2010/main" val="1134911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1DE985D-693F-6744-A7F2-16E241ED1EDC}" type="datetimeFigureOut">
              <a:rPr lang="en-US" smtClean="0"/>
              <a:t>10/7/2019</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F1B5CC7-969E-7E42-B7A7-1D9A93EEA422}" type="slidenum">
              <a:rPr lang="en-US" smtClean="0"/>
              <a:t>‹#›</a:t>
            </a:fld>
            <a:endParaRPr lang="en-US" dirty="0"/>
          </a:p>
        </p:txBody>
      </p:sp>
    </p:spTree>
    <p:extLst>
      <p:ext uri="{BB962C8B-B14F-4D97-AF65-F5344CB8AC3E}">
        <p14:creationId xmlns:p14="http://schemas.microsoft.com/office/powerpoint/2010/main" val="23327120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F1B5CC7-969E-7E42-B7A7-1D9A93EEA42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8462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C1EBD6-463C-423D-9C0A-DB174671B239}" type="slidenum">
              <a:rPr lang="en-US" smtClean="0"/>
              <a:t>19</a:t>
            </a:fld>
            <a:endParaRPr lang="en-US" dirty="0"/>
          </a:p>
        </p:txBody>
      </p:sp>
    </p:spTree>
    <p:extLst>
      <p:ext uri="{BB962C8B-B14F-4D97-AF65-F5344CB8AC3E}">
        <p14:creationId xmlns:p14="http://schemas.microsoft.com/office/powerpoint/2010/main" val="2704581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Tx/>
              <a:buChar char="-"/>
            </a:pPr>
            <a:r>
              <a:rPr lang="en-US" dirty="0"/>
              <a:t>Ask Josh</a:t>
            </a:r>
            <a:r>
              <a:rPr lang="en-US" baseline="0" dirty="0"/>
              <a:t>: What are the differentiators in our Microsoft qualifications from the other LSPs? Anything? Specific to SHI?</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C1EBD6-463C-423D-9C0A-DB174671B2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4036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C1EBD6-463C-423D-9C0A-DB174671B2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4238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Talk about who</a:t>
            </a:r>
            <a:r>
              <a:rPr lang="en-US" baseline="0" dirty="0"/>
              <a:t> supports what.</a:t>
            </a:r>
          </a:p>
          <a:p>
            <a:pPr marL="228600" indent="-228600">
              <a:buAutoNum type="arabicPeriod"/>
            </a:pPr>
            <a:r>
              <a:rPr lang="en-US" baseline="0" dirty="0"/>
              <a:t>Why have we created the new roles and what do they support?</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BC1EBD6-463C-423D-9C0A-DB174671B2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46960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2A62A4-BD66-47D9-9972-80A411EADB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1845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2A62A4-BD66-47D9-9972-80A411EADB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17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2A62A4-BD66-47D9-9972-80A411EADB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7317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the Microsoft cloud is obviously fantastic, there are some risks involved with any cloud migration </a:t>
            </a:r>
            <a:r>
              <a:rPr lang="en-US" b="1" dirty="0"/>
              <a:t>*click through bullets and discuss*</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F1B5CC7-969E-7E42-B7A7-1D9A93EEA42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76474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uckily Softchoice has assisted hundreds of cloud migrations, and have it down to a science. We want to make sure that your cloud journey goes as smoothly as possible, so we have a standard operating procedure on migration to the cloud.</a:t>
            </a:r>
          </a:p>
          <a:p>
            <a:r>
              <a:rPr lang="en-US" dirty="0"/>
              <a:t>We begin with the Assess phase where we begin to look at the existing environment, and determine a few things: What is the actual cost of our environment today? This would include Hardware, software licenses, networking, anti-virus, MPLS, Cooling, fire suppression, etc. This can be a daunting task, but we are here to help. We also want to determine what the actual goals are – is it 100% cost savings? Do you want additional redundancy and uptime? Do you want additional compute power? all of the above? We can then start to review the on-premises workloads (or even workloads in a colo or other public cloud), and get the raw data on what is there. We also want to discuss what the perceived shortcomings of the existing environment are today.</a:t>
            </a:r>
          </a:p>
          <a:p>
            <a:r>
              <a:rPr lang="en-US" dirty="0"/>
              <a:t>Click 1 – At this point we are ready to start using Azure. We typically want to stand up a “base layer” azure configuration that allows admins to get acclimated with the Azure tools  and processes. This COULD be a low-risk production workload, but is typically a sandbox type environment. </a:t>
            </a:r>
            <a:r>
              <a:rPr lang="en-US" b="1" dirty="0"/>
              <a:t>*Read the step under “Pilot”*</a:t>
            </a:r>
            <a:endParaRPr lang="en-US" dirty="0"/>
          </a:p>
          <a:p>
            <a:r>
              <a:rPr lang="en-US" dirty="0"/>
              <a:t>Click 2 – When we have decided that workload migration to the public cloud is a good fit, we can start planning out the actual migration. </a:t>
            </a:r>
            <a:r>
              <a:rPr lang="en-US" b="1" dirty="0"/>
              <a:t>*Read the step under “Plan”*</a:t>
            </a:r>
          </a:p>
          <a:p>
            <a:r>
              <a:rPr lang="en-US" b="0" dirty="0"/>
              <a:t>Click 3 – Once we have thoroughly assessed the environment, and planned out the migration, we are ready to get moving! In this phase we will </a:t>
            </a:r>
            <a:r>
              <a:rPr lang="en-US" b="1" dirty="0"/>
              <a:t>*Read the step under “Migration”*</a:t>
            </a:r>
          </a:p>
          <a:p>
            <a:r>
              <a:rPr lang="en-US" b="0" dirty="0"/>
              <a:t>Click 4 – When we are migrating over workloads, we are going to optimize as best we can based on the information we have available to us. However, you really need to have the workloads running in the cloud for a bit to determine the real optimization options. In the optimize phase we will </a:t>
            </a:r>
            <a:r>
              <a:rPr lang="en-US" b="1" dirty="0"/>
              <a:t>*Read the step under “Optimize”*</a:t>
            </a:r>
          </a:p>
          <a:p>
            <a:endParaRPr lang="en-US" b="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F1B5CC7-969E-7E42-B7A7-1D9A93EEA42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2602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9.xml"/><Relationship Id="rId4" Type="http://schemas.openxmlformats.org/officeDocument/2006/relationships/image" Target="../media/image12.pn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1590262" y="4177654"/>
            <a:ext cx="7310781" cy="386264"/>
          </a:xfrm>
        </p:spPr>
        <p:txBody>
          <a:bodyPr/>
          <a:lstStyle>
            <a:lvl1pPr algn="r">
              <a:defRPr sz="3600">
                <a:solidFill>
                  <a:schemeClr val="bg1"/>
                </a:solidFill>
                <a:latin typeface="Helvetica"/>
                <a:cs typeface="Helvetica"/>
              </a:defRPr>
            </a:lvl1pPr>
          </a:lstStyle>
          <a:p>
            <a:r>
              <a:rPr lang="en-US"/>
              <a:t>Click to edit Master title style</a:t>
            </a:r>
          </a:p>
        </p:txBody>
      </p:sp>
      <p:sp>
        <p:nvSpPr>
          <p:cNvPr id="3" name="Subtitle 2"/>
          <p:cNvSpPr>
            <a:spLocks noGrp="1"/>
          </p:cNvSpPr>
          <p:nvPr>
            <p:ph type="subTitle" idx="1"/>
          </p:nvPr>
        </p:nvSpPr>
        <p:spPr>
          <a:xfrm>
            <a:off x="2838174" y="4572000"/>
            <a:ext cx="6062868" cy="460513"/>
          </a:xfrm>
        </p:spPr>
        <p:txBody>
          <a:bodyPr>
            <a:normAutofit/>
          </a:bodyPr>
          <a:lstStyle>
            <a:lvl1pPr marL="0" indent="0" algn="r">
              <a:buNone/>
              <a:defRPr sz="2400">
                <a:solidFill>
                  <a:schemeClr val="bg1"/>
                </a:solidFill>
                <a:latin typeface="Helvetica"/>
                <a:cs typeface="Helvetic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descr="SoftchoiceLogo2010_tagline.eps"/>
          <p:cNvPicPr>
            <a:picLocks noChangeAspect="1"/>
          </p:cNvPicPr>
          <p:nvPr/>
        </p:nvPicPr>
        <p:blipFill rotWithShape="1">
          <a:blip r:embed="rId3">
            <a:duotone>
              <a:schemeClr val="bg2">
                <a:shade val="45000"/>
                <a:satMod val="135000"/>
              </a:schemeClr>
              <a:prstClr val="white"/>
            </a:duotone>
            <a:lum bright="100000" contrast="100000"/>
            <a:extLst>
              <a:ext uri="{28A0092B-C50C-407E-A947-70E740481C1C}">
                <a14:useLocalDpi xmlns:a14="http://schemas.microsoft.com/office/drawing/2010/main" val="0"/>
              </a:ext>
            </a:extLst>
          </a:blip>
          <a:srcRect b="16679"/>
          <a:stretch/>
        </p:blipFill>
        <p:spPr>
          <a:xfrm>
            <a:off x="7001045" y="221143"/>
            <a:ext cx="1805940" cy="685700"/>
          </a:xfrm>
          <a:prstGeom prst="rect">
            <a:avLst/>
          </a:prstGeom>
          <a:effectLst>
            <a:outerShdw blurRad="63500" sx="102000" sy="102000" algn="ctr" rotWithShape="0">
              <a:prstClr val="black">
                <a:alpha val="40000"/>
              </a:prstClr>
            </a:outerShdw>
          </a:effectLst>
        </p:spPr>
      </p:pic>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58363" y="221143"/>
            <a:ext cx="1743559" cy="822960"/>
          </a:xfrm>
          <a:prstGeom prst="rect">
            <a:avLst/>
          </a:prstGeom>
          <a:effectLst>
            <a:outerShdw blurRad="63500" sx="102000" sy="102000" algn="ctr" rotWithShape="0">
              <a:prstClr val="black">
                <a:alpha val="40000"/>
              </a:prstClr>
            </a:outerShdw>
          </a:effectLst>
        </p:spPr>
      </p:pic>
    </p:spTree>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2382"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822960" y="569214"/>
            <a:ext cx="7543800" cy="2674620"/>
          </a:xfrm>
        </p:spPr>
        <p:txBody>
          <a:bodyPr anchor="b">
            <a:normAutofit/>
          </a:bodyPr>
          <a:lstStyle>
            <a:lvl1pPr algn="l">
              <a:lnSpc>
                <a:spcPct val="85000"/>
              </a:lnSpc>
              <a:defRPr sz="6000" spc="-38"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825038" y="3341715"/>
            <a:ext cx="7543800" cy="857250"/>
          </a:xfrm>
        </p:spPr>
        <p:txBody>
          <a:bodyPr lIns="91440" rIns="91440">
            <a:normAutofit/>
          </a:bodyPr>
          <a:lstStyle>
            <a:lvl1pPr marL="0" indent="0" algn="l">
              <a:buNone/>
              <a:defRPr sz="1800" cap="all" spc="150" baseline="0">
                <a:solidFill>
                  <a:schemeClr val="tx2"/>
                </a:solidFill>
                <a:latin typeface="+mj-lt"/>
              </a:defRPr>
            </a:lvl1pPr>
            <a:lvl2pPr marL="342900" indent="0" algn="ctr">
              <a:buNone/>
              <a:defRPr sz="1800"/>
            </a:lvl2pPr>
            <a:lvl3pPr marL="685800" indent="0" algn="ctr">
              <a:buNone/>
              <a:defRPr sz="18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smtClean="0"/>
              <a:t>10/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07545785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40"/>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01930" y="2907958"/>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23906401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40"/>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41189434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54782658"/>
      </p:ext>
    </p:extLst>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9720473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6535808"/>
      </p:ext>
    </p:extLst>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04618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897991"/>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7806639"/>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574393"/>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338725" y="352550"/>
            <a:ext cx="1067477" cy="228621"/>
          </a:xfrm>
          <a:prstGeom prst="rect">
            <a:avLst/>
          </a:prstGeom>
        </p:spPr>
      </p:pic>
    </p:spTree>
    <p:extLst>
      <p:ext uri="{BB962C8B-B14F-4D97-AF65-F5344CB8AC3E}">
        <p14:creationId xmlns:p14="http://schemas.microsoft.com/office/powerpoint/2010/main" val="92558043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3510639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F5A1A-DFF3-4093-A802-6F05D81BEED0}"/>
              </a:ext>
            </a:extLst>
          </p:cNvPr>
          <p:cNvSpPr>
            <a:spLocks noGrp="1"/>
          </p:cNvSpPr>
          <p:nvPr>
            <p:ph type="ctrTitle"/>
          </p:nvPr>
        </p:nvSpPr>
        <p:spPr>
          <a:xfrm>
            <a:off x="1143000" y="841772"/>
            <a:ext cx="6858000" cy="1790700"/>
          </a:xfrm>
        </p:spPr>
        <p:txBody>
          <a:bodyPr anchor="b"/>
          <a:lstStyle>
            <a:lvl1pPr algn="ctr">
              <a:defRPr sz="4497"/>
            </a:lvl1pPr>
          </a:lstStyle>
          <a:p>
            <a:r>
              <a:rPr lang="en-US"/>
              <a:t>Click to edit Master title style</a:t>
            </a:r>
          </a:p>
        </p:txBody>
      </p:sp>
      <p:sp>
        <p:nvSpPr>
          <p:cNvPr id="3" name="Subtitle 2">
            <a:extLst>
              <a:ext uri="{FF2B5EF4-FFF2-40B4-BE49-F238E27FC236}">
                <a16:creationId xmlns:a16="http://schemas.microsoft.com/office/drawing/2014/main" id="{B060D25F-73CD-428A-8162-FAA4ED55CADC}"/>
              </a:ext>
            </a:extLst>
          </p:cNvPr>
          <p:cNvSpPr>
            <a:spLocks noGrp="1"/>
          </p:cNvSpPr>
          <p:nvPr>
            <p:ph type="subTitle" idx="1"/>
          </p:nvPr>
        </p:nvSpPr>
        <p:spPr>
          <a:xfrm>
            <a:off x="1143000" y="2701530"/>
            <a:ext cx="6858000" cy="433965"/>
          </a:xfrm>
        </p:spPr>
        <p:txBody>
          <a:bodyPr/>
          <a:lstStyle>
            <a:lvl1pPr marL="0" indent="0" algn="ctr">
              <a:buNone/>
              <a:defRPr sz="1800"/>
            </a:lvl1pPr>
            <a:lvl2pPr marL="342769" indent="0" algn="ctr">
              <a:buNone/>
              <a:defRPr sz="1500"/>
            </a:lvl2pPr>
            <a:lvl3pPr marL="685537" indent="0" algn="ctr">
              <a:buNone/>
              <a:defRPr sz="1350"/>
            </a:lvl3pPr>
            <a:lvl4pPr marL="1028306" indent="0" algn="ctr">
              <a:buNone/>
              <a:defRPr sz="1200"/>
            </a:lvl4pPr>
            <a:lvl5pPr marL="1371074" indent="0" algn="ctr">
              <a:buNone/>
              <a:defRPr sz="1200"/>
            </a:lvl5pPr>
            <a:lvl6pPr marL="1713842" indent="0" algn="ctr">
              <a:buNone/>
              <a:defRPr sz="1200"/>
            </a:lvl6pPr>
            <a:lvl7pPr marL="2056610" indent="0" algn="ctr">
              <a:buNone/>
              <a:defRPr sz="1200"/>
            </a:lvl7pPr>
            <a:lvl8pPr marL="2399378" indent="0" algn="ctr">
              <a:buNone/>
              <a:defRPr sz="1200"/>
            </a:lvl8pPr>
            <a:lvl9pPr marL="2742146"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8A70F3FC-F1B8-4F82-8B63-A9C5D923F2E4}"/>
              </a:ext>
            </a:extLst>
          </p:cNvPr>
          <p:cNvSpPr>
            <a:spLocks noGrp="1"/>
          </p:cNvSpPr>
          <p:nvPr>
            <p:ph type="dt" sz="half" idx="10"/>
          </p:nvPr>
        </p:nvSpPr>
        <p:spPr/>
        <p:txBody>
          <a:bodyPr/>
          <a:lstStyle/>
          <a:p>
            <a:pPr defTabSz="685775">
              <a:defRPr/>
            </a:pPr>
            <a:fld id="{1B43F78E-B083-4D00-876C-6B5CE35EA441}" type="datetimeFigureOut">
              <a:rPr lang="en-US" sz="1324" smtClean="0">
                <a:solidFill>
                  <a:srgbClr val="353535"/>
                </a:solidFill>
              </a:rPr>
              <a:pPr defTabSz="685775">
                <a:defRPr/>
              </a:pPr>
              <a:t>10/7/2019</a:t>
            </a:fld>
            <a:endParaRPr lang="en-US" sz="1324" dirty="0">
              <a:solidFill>
                <a:srgbClr val="353535"/>
              </a:solidFill>
            </a:endParaRPr>
          </a:p>
        </p:txBody>
      </p:sp>
      <p:sp>
        <p:nvSpPr>
          <p:cNvPr id="5" name="Footer Placeholder 4">
            <a:extLst>
              <a:ext uri="{FF2B5EF4-FFF2-40B4-BE49-F238E27FC236}">
                <a16:creationId xmlns:a16="http://schemas.microsoft.com/office/drawing/2014/main" id="{39D66D3A-F7EB-426C-809E-723F6AD53B09}"/>
              </a:ext>
            </a:extLst>
          </p:cNvPr>
          <p:cNvSpPr>
            <a:spLocks noGrp="1"/>
          </p:cNvSpPr>
          <p:nvPr>
            <p:ph type="ftr" sz="quarter" idx="11"/>
          </p:nvPr>
        </p:nvSpPr>
        <p:spPr/>
        <p:txBody>
          <a:bodyPr/>
          <a:lstStyle/>
          <a:p>
            <a:pPr defTabSz="685775">
              <a:defRPr/>
            </a:pPr>
            <a:endParaRPr lang="en-US" sz="1324" dirty="0">
              <a:solidFill>
                <a:srgbClr val="353535"/>
              </a:solidFill>
            </a:endParaRPr>
          </a:p>
        </p:txBody>
      </p:sp>
      <p:sp>
        <p:nvSpPr>
          <p:cNvPr id="6" name="Slide Number Placeholder 5">
            <a:extLst>
              <a:ext uri="{FF2B5EF4-FFF2-40B4-BE49-F238E27FC236}">
                <a16:creationId xmlns:a16="http://schemas.microsoft.com/office/drawing/2014/main" id="{B470E257-BC9D-47D9-8BA8-B74776C5861B}"/>
              </a:ext>
            </a:extLst>
          </p:cNvPr>
          <p:cNvSpPr>
            <a:spLocks noGrp="1"/>
          </p:cNvSpPr>
          <p:nvPr>
            <p:ph type="sldNum" sz="quarter" idx="12"/>
          </p:nvPr>
        </p:nvSpPr>
        <p:spPr/>
        <p:txBody>
          <a:bodyPr/>
          <a:lstStyle/>
          <a:p>
            <a:pPr defTabSz="685775">
              <a:defRPr/>
            </a:pPr>
            <a:fld id="{FAEDCD11-9E5C-4E05-8107-B305AD22C472}" type="slidenum">
              <a:rPr lang="en-US" sz="1324" smtClean="0">
                <a:solidFill>
                  <a:srgbClr val="353535"/>
                </a:solidFill>
              </a:rPr>
              <a:pPr defTabSz="685775">
                <a:defRPr/>
              </a:pPr>
              <a:t>‹#›</a:t>
            </a:fld>
            <a:endParaRPr lang="en-US" sz="1324" dirty="0">
              <a:solidFill>
                <a:srgbClr val="353535"/>
              </a:solidFill>
            </a:endParaRPr>
          </a:p>
        </p:txBody>
      </p:sp>
    </p:spTree>
    <p:extLst>
      <p:ext uri="{BB962C8B-B14F-4D97-AF65-F5344CB8AC3E}">
        <p14:creationId xmlns:p14="http://schemas.microsoft.com/office/powerpoint/2010/main" val="351571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01290" y="202073"/>
            <a:ext cx="7543800" cy="827195"/>
          </a:xfrm>
        </p:spPr>
        <p:txBody>
          <a:bodyPr/>
          <a:lstStyle>
            <a:lvl1pPr marL="0">
              <a:defRPr/>
            </a:lvl1pPr>
          </a:lstStyle>
          <a:p>
            <a:r>
              <a:rPr lang="en-US"/>
              <a:t>Click to edit Master title style</a:t>
            </a:r>
          </a:p>
        </p:txBody>
      </p:sp>
      <p:sp>
        <p:nvSpPr>
          <p:cNvPr id="3" name="Content Placeholder 2"/>
          <p:cNvSpPr>
            <a:spLocks noGrp="1"/>
          </p:cNvSpPr>
          <p:nvPr>
            <p:ph idx="1"/>
          </p:nvPr>
        </p:nvSpPr>
        <p:spPr>
          <a:xfrm>
            <a:off x="801290" y="1263277"/>
            <a:ext cx="7543800" cy="3017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smtClean="0"/>
              <a:t>10/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cxnSp>
        <p:nvCxnSpPr>
          <p:cNvPr id="7" name="Straight Connector 6"/>
          <p:cNvCxnSpPr/>
          <p:nvPr userDrawn="1"/>
        </p:nvCxnSpPr>
        <p:spPr>
          <a:xfrm flipV="1">
            <a:off x="755724" y="1029268"/>
            <a:ext cx="7184765" cy="29421"/>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114202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Just Title">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userDrawn="1"/>
        </p:nvSpPr>
        <p:spPr>
          <a:xfrm>
            <a:off x="0" y="0"/>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121482" y="132517"/>
            <a:ext cx="8924441" cy="513522"/>
          </a:xfrm>
        </p:spPr>
        <p:txBody>
          <a:bodyPr>
            <a:normAutofit/>
          </a:bodyPr>
          <a:lstStyle>
            <a:lvl1pPr algn="l">
              <a:defRPr sz="2800">
                <a:solidFill>
                  <a:srgbClr val="FFFFFF"/>
                </a:solidFill>
                <a:latin typeface="Helvetica"/>
                <a:cs typeface="Helvetica"/>
              </a:defRPr>
            </a:lvl1pPr>
          </a:lstStyle>
          <a:p>
            <a:r>
              <a:rPr lang="en-US"/>
              <a:t>Click to edit Master title style</a:t>
            </a:r>
          </a:p>
        </p:txBody>
      </p:sp>
    </p:spTree>
    <p:extLst>
      <p:ext uri="{BB962C8B-B14F-4D97-AF65-F5344CB8AC3E}">
        <p14:creationId xmlns:p14="http://schemas.microsoft.com/office/powerpoint/2010/main" val="1184073551"/>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nd logo only">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892"/>
            <a:endParaRPr lang="en-US" sz="1350" dirty="0">
              <a:solidFill>
                <a:prstClr val="white"/>
              </a:solidFill>
            </a:endParaRPr>
          </a:p>
        </p:txBody>
      </p:sp>
      <p:sp>
        <p:nvSpPr>
          <p:cNvPr id="8" name="Rectangle 7"/>
          <p:cNvSpPr/>
          <p:nvPr userDrawn="1"/>
        </p:nvSpPr>
        <p:spPr>
          <a:xfrm>
            <a:off x="0" y="2"/>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892"/>
            <a:endParaRPr lang="en-US" sz="1350" dirty="0">
              <a:solidFill>
                <a:prstClr val="white"/>
              </a:solidFill>
            </a:endParaRPr>
          </a:p>
        </p:txBody>
      </p:sp>
      <p:pic>
        <p:nvPicPr>
          <p:cNvPr id="9" name="Picture 8" descr="new_Softchoice_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28004" y="4638264"/>
            <a:ext cx="1017920" cy="438978"/>
          </a:xfrm>
          <a:prstGeom prst="rect">
            <a:avLst/>
          </a:prstGeom>
        </p:spPr>
      </p:pic>
      <p:sp>
        <p:nvSpPr>
          <p:cNvPr id="10" name="Title 1"/>
          <p:cNvSpPr>
            <a:spLocks noGrp="1"/>
          </p:cNvSpPr>
          <p:nvPr>
            <p:ph type="title"/>
          </p:nvPr>
        </p:nvSpPr>
        <p:spPr>
          <a:xfrm>
            <a:off x="121483" y="132517"/>
            <a:ext cx="8924441" cy="513522"/>
          </a:xfrm>
          <a:prstGeom prst="rect">
            <a:avLst/>
          </a:prstGeom>
        </p:spPr>
        <p:txBody>
          <a:bodyPr>
            <a:normAutofit/>
          </a:bodyPr>
          <a:lstStyle>
            <a:lvl1pPr algn="l">
              <a:defRPr sz="2100">
                <a:solidFill>
                  <a:srgbClr val="FFFFFF"/>
                </a:solidFill>
                <a:latin typeface="Helvetica"/>
                <a:cs typeface="Helvetica"/>
              </a:defRPr>
            </a:lvl1pPr>
          </a:lstStyle>
          <a:p>
            <a:r>
              <a:rPr lang="en-CA"/>
              <a:t>Click to edit Master title style</a:t>
            </a:r>
            <a:endParaRPr lang="en-US" dirty="0"/>
          </a:p>
        </p:txBody>
      </p:sp>
    </p:spTree>
    <p:extLst>
      <p:ext uri="{BB962C8B-B14F-4D97-AF65-F5344CB8AC3E}">
        <p14:creationId xmlns:p14="http://schemas.microsoft.com/office/powerpoint/2010/main" val="3997404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2382"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569214"/>
            <a:ext cx="7543800" cy="2674620"/>
          </a:xfrm>
        </p:spPr>
        <p:txBody>
          <a:bodyPr anchor="b" anchorCtr="0">
            <a:normAutofit/>
          </a:bodyPr>
          <a:lstStyle>
            <a:lvl1pPr>
              <a:lnSpc>
                <a:spcPct val="85000"/>
              </a:lnSpc>
              <a:defRPr sz="6000" b="0">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822960" y="3339846"/>
            <a:ext cx="7543800" cy="857250"/>
          </a:xfrm>
        </p:spPr>
        <p:txBody>
          <a:bodyPr lIns="91440" rIns="91440" anchor="t" anchorCtr="0">
            <a:normAutofit/>
          </a:bodyPr>
          <a:lstStyle>
            <a:lvl1pPr marL="0" indent="0">
              <a:buNone/>
              <a:defRPr sz="1800" cap="all" spc="150" baseline="0">
                <a:solidFill>
                  <a:schemeClr val="tx2"/>
                </a:solidFill>
                <a:latin typeface="+mj-lt"/>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0578ACC-22D6-47C1-A373-4FD133E34F3C}" type="datetimeFigureOut">
              <a:rPr lang="en-US" smtClean="0"/>
              <a:t>10/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2683550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822960" y="214953"/>
            <a:ext cx="7543800" cy="1088068"/>
          </a:xfrm>
        </p:spPr>
        <p:txBody>
          <a:bodyPr/>
          <a:lstStyle/>
          <a:p>
            <a:r>
              <a:rPr lang="en-US"/>
              <a:t>Click to edit Master title style</a:t>
            </a:r>
          </a:p>
        </p:txBody>
      </p:sp>
      <p:sp>
        <p:nvSpPr>
          <p:cNvPr id="3" name="Content Placeholder 2"/>
          <p:cNvSpPr>
            <a:spLocks noGrp="1"/>
          </p:cNvSpPr>
          <p:nvPr>
            <p:ph sz="half" idx="1"/>
          </p:nvPr>
        </p:nvSpPr>
        <p:spPr>
          <a:xfrm>
            <a:off x="822959" y="1384301"/>
            <a:ext cx="3703320" cy="3017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63440" y="1384301"/>
            <a:ext cx="3703320" cy="3017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E5A6C69-6797-4E8A-BF37-F2C3751466E9}" type="datetimeFigureOut">
              <a:rPr lang="en-US" smtClean="0"/>
              <a:t>10/7/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8385897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822960" y="214953"/>
            <a:ext cx="7543800" cy="1088068"/>
          </a:xfrm>
        </p:spPr>
        <p:txBody>
          <a:bodyPr/>
          <a:lstStyle/>
          <a:p>
            <a:r>
              <a:rPr lang="en-US"/>
              <a:t>Click to edit Master title style</a:t>
            </a:r>
          </a:p>
        </p:txBody>
      </p:sp>
      <p:sp>
        <p:nvSpPr>
          <p:cNvPr id="3" name="Text Placeholder 2"/>
          <p:cNvSpPr>
            <a:spLocks noGrp="1"/>
          </p:cNvSpPr>
          <p:nvPr>
            <p:ph type="body" idx="1"/>
          </p:nvPr>
        </p:nvSpPr>
        <p:spPr>
          <a:xfrm>
            <a:off x="822960" y="1384539"/>
            <a:ext cx="3703320" cy="552212"/>
          </a:xfr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22960" y="1936751"/>
            <a:ext cx="3703320" cy="2533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63440" y="1384539"/>
            <a:ext cx="3703320" cy="552212"/>
          </a:xfrm>
        </p:spPr>
        <p:txBody>
          <a:bodyPr lIns="91440" rIns="91440" anchor="ctr">
            <a:normAutofit/>
          </a:bodyP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63440" y="1936751"/>
            <a:ext cx="3703320" cy="2533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82014A1-A632-4878-A0D3-F52BA7563730}" type="datetimeFigureOut">
              <a:rPr lang="en-US" smtClean="0"/>
              <a:t>10/7/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9408736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E99F462-093F-4566-844B-4C71F2739DA5}" type="datetimeFigureOut">
              <a:rPr lang="en-US" smtClean="0"/>
              <a:t>10/7/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9662059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2382"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2"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3D24A7AC-904D-4781-85BA-7D10C17ED021}" type="datetimeFigureOut">
              <a:rPr lang="en-US" smtClean="0"/>
              <a:t>10/7/2019</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4485773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3" y="0"/>
            <a:ext cx="3038093"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3030053" y="0"/>
            <a:ext cx="48006"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445769"/>
            <a:ext cx="2400300" cy="1714500"/>
          </a:xfrm>
        </p:spPr>
        <p:txBody>
          <a:bodyPr anchor="b">
            <a:normAutofit/>
          </a:bodyPr>
          <a:lstStyle>
            <a:lvl1pPr>
              <a:defRPr sz="2700" b="0">
                <a:solidFill>
                  <a:srgbClr val="FFFFFF"/>
                </a:solidFill>
              </a:defRPr>
            </a:lvl1pPr>
          </a:lstStyle>
          <a:p>
            <a:r>
              <a:rPr lang="en-US"/>
              <a:t>Click to edit Master title style</a:t>
            </a:r>
          </a:p>
        </p:txBody>
      </p:sp>
      <p:sp>
        <p:nvSpPr>
          <p:cNvPr id="3" name="Content Placeholder 2"/>
          <p:cNvSpPr>
            <a:spLocks noGrp="1"/>
          </p:cNvSpPr>
          <p:nvPr>
            <p:ph idx="1"/>
          </p:nvPr>
        </p:nvSpPr>
        <p:spPr>
          <a:xfrm>
            <a:off x="3600450" y="548640"/>
            <a:ext cx="4869180" cy="3943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42900" y="2194560"/>
            <a:ext cx="2400300" cy="2534343"/>
          </a:xfrm>
        </p:spPr>
        <p:txBody>
          <a:bodyPr lIns="91440" rIns="91440">
            <a:normAutofit/>
          </a:bodyPr>
          <a:lstStyle>
            <a:lvl1pPr marL="0" indent="0">
              <a:buNone/>
              <a:defRPr sz="1125">
                <a:solidFill>
                  <a:srgbClr val="FFFFFF"/>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a:xfrm>
            <a:off x="349134" y="4844839"/>
            <a:ext cx="1963883" cy="273844"/>
          </a:xfrm>
        </p:spPr>
        <p:txBody>
          <a:bodyPr/>
          <a:lstStyle>
            <a:lvl1pPr algn="l">
              <a:defRPr/>
            </a:lvl1pPr>
          </a:lstStyle>
          <a:p>
            <a:fld id="{E331444B-B92B-4E27-8C94-BB93EAF5CB18}" type="datetimeFigureOut">
              <a:rPr lang="en-US" smtClean="0"/>
              <a:t>10/7/2019</a:t>
            </a:fld>
            <a:endParaRPr lang="en-US" dirty="0"/>
          </a:p>
        </p:txBody>
      </p:sp>
      <p:sp>
        <p:nvSpPr>
          <p:cNvPr id="6" name="Footer Placeholder 5"/>
          <p:cNvSpPr>
            <a:spLocks noGrp="1"/>
          </p:cNvSpPr>
          <p:nvPr>
            <p:ph type="ftr" sz="quarter" idx="11"/>
          </p:nvPr>
        </p:nvSpPr>
        <p:spPr>
          <a:xfrm>
            <a:off x="3600450" y="4844839"/>
            <a:ext cx="3486150" cy="273844"/>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6D22F896-40B5-4ADD-8801-0D06FADFA095}" type="slidenum">
              <a:rPr lang="en-US" smtClean="0"/>
              <a:t>‹#›</a:t>
            </a:fld>
            <a:endParaRPr lang="en-US" dirty="0"/>
          </a:p>
        </p:txBody>
      </p:sp>
    </p:spTree>
    <p:extLst>
      <p:ext uri="{BB962C8B-B14F-4D97-AF65-F5344CB8AC3E}">
        <p14:creationId xmlns:p14="http://schemas.microsoft.com/office/powerpoint/2010/main" val="3073110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3714750"/>
            <a:ext cx="9141619" cy="142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2" y="368630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3806190"/>
            <a:ext cx="7584948" cy="617220"/>
          </a:xfrm>
        </p:spPr>
        <p:txBody>
          <a:bodyPr lIns="91440" tIns="0" rIns="91440" bIns="0" anchor="b">
            <a:noAutofit/>
          </a:bodyPr>
          <a:lstStyle>
            <a:lvl1pPr>
              <a:defRPr sz="2700" b="0">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2" y="0"/>
            <a:ext cx="9143989" cy="3686307"/>
          </a:xfrm>
          <a:blipFill>
            <a:blip r:embed="rId2"/>
            <a:stretch>
              <a:fillRect/>
            </a:stretch>
          </a:blipFill>
        </p:spPr>
        <p:txBody>
          <a:bodyPr lIns="457200" tIns="457200" anchor="t"/>
          <a:lstStyle>
            <a:lvl1pPr marL="0" indent="0">
              <a:buNone/>
              <a:defRPr sz="2400">
                <a:solidFill>
                  <a:schemeClr val="bg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822960" y="4430267"/>
            <a:ext cx="7584948" cy="445770"/>
          </a:xfrm>
        </p:spPr>
        <p:txBody>
          <a:bodyPr lIns="91440" tIns="0" rIns="91440" bIns="0">
            <a:normAutofit/>
          </a:bodyPr>
          <a:lstStyle>
            <a:lvl1pPr marL="0" indent="0">
              <a:spcBef>
                <a:spcPts val="0"/>
              </a:spcBef>
              <a:spcAft>
                <a:spcPts val="450"/>
              </a:spcAft>
              <a:buNone/>
              <a:defRPr sz="1125">
                <a:solidFill>
                  <a:srgbClr val="FFFFFF"/>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363EFA5E-FA76-400D-B3DC-F0BA90E6D107}" type="datetimeFigureOut">
              <a:rPr lang="en-US" smtClean="0"/>
              <a:t>10/7/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863676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A3F48C-C7C6-4055-9F49-3777875E72AE}" type="datetimeFigureOut">
              <a:rPr lang="en-US" smtClean="0"/>
              <a:t>10/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9704610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Sub-section - option #1">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t="7114" b="19504"/>
          <a:stretch/>
        </p:blipFill>
        <p:spPr>
          <a:xfrm>
            <a:off x="0" y="0"/>
            <a:ext cx="9144000" cy="5032513"/>
          </a:xfrm>
          <a:prstGeom prst="rect">
            <a:avLst/>
          </a:prstGeom>
        </p:spPr>
      </p:pic>
      <p:sp>
        <p:nvSpPr>
          <p:cNvPr id="2" name="Title 1"/>
          <p:cNvSpPr>
            <a:spLocks noGrp="1"/>
          </p:cNvSpPr>
          <p:nvPr>
            <p:ph type="ctrTitle"/>
          </p:nvPr>
        </p:nvSpPr>
        <p:spPr>
          <a:xfrm>
            <a:off x="1590262" y="4177654"/>
            <a:ext cx="7310781" cy="386264"/>
          </a:xfrm>
        </p:spPr>
        <p:txBody>
          <a:bodyPr/>
          <a:lstStyle>
            <a:lvl1pPr algn="r">
              <a:defRPr sz="3600">
                <a:solidFill>
                  <a:schemeClr val="tx1"/>
                </a:solidFill>
                <a:latin typeface="Helvetica"/>
                <a:cs typeface="Helvetica"/>
              </a:defRPr>
            </a:lvl1pPr>
          </a:lstStyle>
          <a:p>
            <a:r>
              <a:rPr lang="en-US"/>
              <a:t>Click to edit Master title style</a:t>
            </a:r>
          </a:p>
        </p:txBody>
      </p:sp>
      <p:sp>
        <p:nvSpPr>
          <p:cNvPr id="3" name="Subtitle 2"/>
          <p:cNvSpPr>
            <a:spLocks noGrp="1"/>
          </p:cNvSpPr>
          <p:nvPr>
            <p:ph type="subTitle" idx="1"/>
          </p:nvPr>
        </p:nvSpPr>
        <p:spPr>
          <a:xfrm>
            <a:off x="2838174" y="4572000"/>
            <a:ext cx="6062868" cy="460513"/>
          </a:xfrm>
        </p:spPr>
        <p:txBody>
          <a:bodyPr>
            <a:normAutofit/>
          </a:bodyPr>
          <a:lstStyle>
            <a:lvl1pPr marL="0" indent="0" algn="r">
              <a:buNone/>
              <a:defRPr sz="2400">
                <a:solidFill>
                  <a:schemeClr val="tx1"/>
                </a:solidFill>
                <a:latin typeface="Helvetica"/>
                <a:cs typeface="Helvetic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7" name="Picture 6" descr="SoftchoiceLogo2010_tagline.eps"/>
          <p:cNvPicPr>
            <a:picLocks noChangeAspect="1"/>
          </p:cNvPicPr>
          <p:nvPr/>
        </p:nvPicPr>
        <p:blipFill rotWithShape="1">
          <a:blip r:embed="rId3">
            <a:duotone>
              <a:schemeClr val="bg2">
                <a:shade val="45000"/>
                <a:satMod val="135000"/>
              </a:schemeClr>
              <a:prstClr val="white"/>
            </a:duotone>
            <a:lum bright="100000" contrast="100000"/>
            <a:extLst>
              <a:ext uri="{28A0092B-C50C-407E-A947-70E740481C1C}">
                <a14:useLocalDpi xmlns:a14="http://schemas.microsoft.com/office/drawing/2010/main" val="0"/>
              </a:ext>
            </a:extLst>
          </a:blip>
          <a:srcRect b="16679"/>
          <a:stretch/>
        </p:blipFill>
        <p:spPr>
          <a:xfrm>
            <a:off x="7001045" y="221143"/>
            <a:ext cx="1805940" cy="685700"/>
          </a:xfrm>
          <a:prstGeom prst="rect">
            <a:avLst/>
          </a:prstGeom>
          <a:effectLst>
            <a:outerShdw blurRad="63500" sx="102000" sy="102000" algn="ctr" rotWithShape="0">
              <a:prstClr val="black">
                <a:alpha val="40000"/>
              </a:prstClr>
            </a:outerShdw>
          </a:effectLst>
        </p:spPr>
      </p:pic>
    </p:spTree>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2382"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6543675" y="311084"/>
            <a:ext cx="1971675" cy="431806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11083"/>
            <a:ext cx="5800725" cy="4318067"/>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178E61D-D431-422C-9764-11DAFE33AB63}" type="datetimeFigureOut">
              <a:rPr lang="en-US" smtClean="0"/>
              <a:t>10/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8749581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otally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4673415"/>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1590262" y="4177654"/>
            <a:ext cx="7310781" cy="386264"/>
          </a:xfrm>
        </p:spPr>
        <p:txBody>
          <a:bodyPr/>
          <a:lstStyle>
            <a:lvl1pPr algn="r">
              <a:defRPr sz="2700">
                <a:solidFill>
                  <a:schemeClr val="bg1"/>
                </a:solidFill>
                <a:latin typeface="Helvetica"/>
                <a:cs typeface="Helvetica"/>
              </a:defRPr>
            </a:lvl1pPr>
          </a:lstStyle>
          <a:p>
            <a:r>
              <a:rPr lang="en-US"/>
              <a:t>Click to edit Master title style</a:t>
            </a:r>
          </a:p>
        </p:txBody>
      </p:sp>
      <p:sp>
        <p:nvSpPr>
          <p:cNvPr id="3" name="Subtitle 2"/>
          <p:cNvSpPr>
            <a:spLocks noGrp="1"/>
          </p:cNvSpPr>
          <p:nvPr>
            <p:ph type="subTitle" idx="1"/>
          </p:nvPr>
        </p:nvSpPr>
        <p:spPr>
          <a:xfrm>
            <a:off x="2838174" y="4572000"/>
            <a:ext cx="6062868" cy="460513"/>
          </a:xfrm>
        </p:spPr>
        <p:txBody>
          <a:bodyPr>
            <a:normAutofit/>
          </a:bodyPr>
          <a:lstStyle>
            <a:lvl1pPr marL="0" indent="0" algn="r">
              <a:buNone/>
              <a:defRPr sz="1800">
                <a:solidFill>
                  <a:schemeClr val="bg1"/>
                </a:solidFill>
                <a:latin typeface="Helvetica"/>
                <a:cs typeface="Helvetic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pic>
        <p:nvPicPr>
          <p:cNvPr id="8" name="Picture 7" descr="SoftchoiceLogo2010_tagline.eps"/>
          <p:cNvPicPr>
            <a:picLocks noChangeAspect="1"/>
          </p:cNvPicPr>
          <p:nvPr userDrawn="1"/>
        </p:nvPicPr>
        <p:blipFill>
          <a:blip r:embed="rId3">
            <a:duotone>
              <a:schemeClr val="bg2">
                <a:shade val="45000"/>
                <a:satMod val="135000"/>
              </a:schemeClr>
              <a:prstClr val="white"/>
            </a:duotone>
            <a:lum bright="100000" contrast="100000"/>
            <a:extLst>
              <a:ext uri="{28A0092B-C50C-407E-A947-70E740481C1C}">
                <a14:useLocalDpi xmlns:a14="http://schemas.microsoft.com/office/drawing/2010/main" val="0"/>
              </a:ext>
            </a:extLst>
          </a:blip>
          <a:stretch>
            <a:fillRect/>
          </a:stretch>
        </p:blipFill>
        <p:spPr>
          <a:xfrm>
            <a:off x="7001046" y="221143"/>
            <a:ext cx="1800610" cy="615398"/>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4634919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Copy">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2" name="Rectangle 11"/>
          <p:cNvSpPr/>
          <p:nvPr userDrawn="1"/>
        </p:nvSpPr>
        <p:spPr>
          <a:xfrm>
            <a:off x="0" y="1"/>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pic>
        <p:nvPicPr>
          <p:cNvPr id="9" name="Picture 8" descr="new_Softchoice_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28004" y="4638264"/>
            <a:ext cx="1017920" cy="438978"/>
          </a:xfrm>
          <a:prstGeom prst="rect">
            <a:avLst/>
          </a:prstGeom>
        </p:spPr>
      </p:pic>
      <p:sp>
        <p:nvSpPr>
          <p:cNvPr id="10" name="Title 1"/>
          <p:cNvSpPr>
            <a:spLocks noGrp="1"/>
          </p:cNvSpPr>
          <p:nvPr>
            <p:ph type="title"/>
          </p:nvPr>
        </p:nvSpPr>
        <p:spPr>
          <a:xfrm>
            <a:off x="121482" y="129575"/>
            <a:ext cx="8924441" cy="513522"/>
          </a:xfrm>
        </p:spPr>
        <p:txBody>
          <a:bodyPr>
            <a:normAutofit/>
          </a:bodyPr>
          <a:lstStyle>
            <a:lvl1pPr algn="l">
              <a:defRPr sz="2100">
                <a:solidFill>
                  <a:srgbClr val="FFFFFF"/>
                </a:solidFill>
                <a:latin typeface="Helvetica"/>
                <a:cs typeface="Helvetica"/>
              </a:defRPr>
            </a:lvl1pPr>
          </a:lstStyle>
          <a:p>
            <a:r>
              <a:rPr lang="en-US"/>
              <a:t>Click to edit Master title style</a:t>
            </a:r>
          </a:p>
        </p:txBody>
      </p:sp>
      <p:sp>
        <p:nvSpPr>
          <p:cNvPr id="13" name="Text Placeholder 12"/>
          <p:cNvSpPr>
            <a:spLocks noGrp="1"/>
          </p:cNvSpPr>
          <p:nvPr>
            <p:ph type="body" sz="quarter" idx="11"/>
          </p:nvPr>
        </p:nvSpPr>
        <p:spPr>
          <a:xfrm>
            <a:off x="331789" y="1002507"/>
            <a:ext cx="8491537" cy="3405448"/>
          </a:xfrm>
        </p:spPr>
        <p:txBody>
          <a:bodyPr>
            <a:normAutofit/>
          </a:bodyPr>
          <a:lstStyle>
            <a:lvl1pPr>
              <a:defRPr sz="2100">
                <a:latin typeface="Helvetica"/>
                <a:cs typeface="Helvetica"/>
              </a:defRPr>
            </a:lvl1pPr>
            <a:lvl2pPr>
              <a:defRPr sz="1800">
                <a:latin typeface="Helvetica"/>
                <a:cs typeface="Helvetica"/>
              </a:defRPr>
            </a:lvl2pPr>
            <a:lvl3pPr>
              <a:defRPr sz="1500">
                <a:latin typeface="Helvetica"/>
                <a:cs typeface="Helvetica"/>
              </a:defRPr>
            </a:lvl3pPr>
            <a:lvl4pPr>
              <a:defRPr sz="1350">
                <a:latin typeface="Helvetica"/>
                <a:cs typeface="Helvetica"/>
              </a:defRPr>
            </a:lvl4pPr>
            <a:lvl5pPr>
              <a:defRPr sz="1350">
                <a:latin typeface="Helvetica"/>
                <a:cs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088217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logo only">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8" name="Rectangle 7"/>
          <p:cNvSpPr/>
          <p:nvPr userDrawn="1"/>
        </p:nvSpPr>
        <p:spPr>
          <a:xfrm>
            <a:off x="0" y="1"/>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pic>
        <p:nvPicPr>
          <p:cNvPr id="9" name="Picture 8" descr="new_Softchoice_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28004" y="4638264"/>
            <a:ext cx="1017920" cy="438978"/>
          </a:xfrm>
          <a:prstGeom prst="rect">
            <a:avLst/>
          </a:prstGeom>
        </p:spPr>
      </p:pic>
      <p:sp>
        <p:nvSpPr>
          <p:cNvPr id="10" name="Title 1"/>
          <p:cNvSpPr>
            <a:spLocks noGrp="1"/>
          </p:cNvSpPr>
          <p:nvPr>
            <p:ph type="title"/>
          </p:nvPr>
        </p:nvSpPr>
        <p:spPr>
          <a:xfrm>
            <a:off x="121482" y="132517"/>
            <a:ext cx="8924441" cy="513522"/>
          </a:xfrm>
        </p:spPr>
        <p:txBody>
          <a:bodyPr>
            <a:normAutofit/>
          </a:bodyPr>
          <a:lstStyle>
            <a:lvl1pPr algn="l">
              <a:defRPr sz="2100">
                <a:solidFill>
                  <a:srgbClr val="FFFFFF"/>
                </a:solidFill>
                <a:latin typeface="Helvetica"/>
                <a:cs typeface="Helvetica"/>
              </a:defRPr>
            </a:lvl1pPr>
          </a:lstStyle>
          <a:p>
            <a:r>
              <a:rPr lang="en-US"/>
              <a:t>Click to edit Master title style</a:t>
            </a:r>
          </a:p>
        </p:txBody>
      </p:sp>
    </p:spTree>
    <p:extLst>
      <p:ext uri="{BB962C8B-B14F-4D97-AF65-F5344CB8AC3E}">
        <p14:creationId xmlns:p14="http://schemas.microsoft.com/office/powerpoint/2010/main" val="3646297371"/>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Just Title">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8" name="Rectangle 7"/>
          <p:cNvSpPr/>
          <p:nvPr userDrawn="1"/>
        </p:nvSpPr>
        <p:spPr>
          <a:xfrm>
            <a:off x="0" y="1"/>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0" name="Title 1"/>
          <p:cNvSpPr>
            <a:spLocks noGrp="1"/>
          </p:cNvSpPr>
          <p:nvPr>
            <p:ph type="title"/>
          </p:nvPr>
        </p:nvSpPr>
        <p:spPr>
          <a:xfrm>
            <a:off x="121482" y="132517"/>
            <a:ext cx="8924441" cy="513522"/>
          </a:xfrm>
        </p:spPr>
        <p:txBody>
          <a:bodyPr>
            <a:normAutofit/>
          </a:bodyPr>
          <a:lstStyle>
            <a:lvl1pPr algn="l">
              <a:defRPr sz="2100">
                <a:solidFill>
                  <a:srgbClr val="FFFFFF"/>
                </a:solidFill>
                <a:latin typeface="Helvetica"/>
                <a:cs typeface="Helvetica"/>
              </a:defRPr>
            </a:lvl1pPr>
          </a:lstStyle>
          <a:p>
            <a:r>
              <a:rPr lang="en-US"/>
              <a:t>Click to edit Master title style</a:t>
            </a:r>
          </a:p>
        </p:txBody>
      </p:sp>
    </p:spTree>
    <p:extLst>
      <p:ext uri="{BB962C8B-B14F-4D97-AF65-F5344CB8AC3E}">
        <p14:creationId xmlns:p14="http://schemas.microsoft.com/office/powerpoint/2010/main" val="67352432"/>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ull bleed image with logo">
    <p:bg>
      <p:bgRef idx="1001">
        <a:schemeClr val="bg1"/>
      </p:bgRef>
    </p:bg>
    <p:spTree>
      <p:nvGrpSpPr>
        <p:cNvPr id="1" name=""/>
        <p:cNvGrpSpPr/>
        <p:nvPr/>
      </p:nvGrpSpPr>
      <p:grpSpPr>
        <a:xfrm>
          <a:off x="0" y="0"/>
          <a:ext cx="0" cy="0"/>
          <a:chOff x="0" y="0"/>
          <a:chExt cx="0" cy="0"/>
        </a:xfrm>
      </p:grpSpPr>
      <p:pic>
        <p:nvPicPr>
          <p:cNvPr id="6" name="Picture 5" descr="new_Softchoice_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28004" y="4638264"/>
            <a:ext cx="1017920" cy="438978"/>
          </a:xfrm>
          <a:prstGeom prst="rect">
            <a:avLst/>
          </a:prstGeom>
        </p:spPr>
      </p:pic>
    </p:spTree>
    <p:extLst>
      <p:ext uri="{BB962C8B-B14F-4D97-AF65-F5344CB8AC3E}">
        <p14:creationId xmlns:p14="http://schemas.microsoft.com/office/powerpoint/2010/main" val="1858805316"/>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tally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6535130"/>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5"/>
            <a:ext cx="7886700" cy="2139553"/>
          </a:xfrm>
        </p:spPr>
        <p:txBody>
          <a:bodyPr anchor="b"/>
          <a:lstStyle>
            <a:lvl1pPr>
              <a:defRPr sz="3375"/>
            </a:lvl1pPr>
          </a:lstStyle>
          <a:p>
            <a:r>
              <a:rPr lang="en-US"/>
              <a:t>Click to edit Master title style</a:t>
            </a:r>
          </a:p>
        </p:txBody>
      </p:sp>
      <p:sp>
        <p:nvSpPr>
          <p:cNvPr id="3" name="Text Placeholder 2"/>
          <p:cNvSpPr>
            <a:spLocks noGrp="1"/>
          </p:cNvSpPr>
          <p:nvPr>
            <p:ph type="body" idx="1"/>
          </p:nvPr>
        </p:nvSpPr>
        <p:spPr>
          <a:xfrm>
            <a:off x="623888" y="3442099"/>
            <a:ext cx="7886700" cy="1125140"/>
          </a:xfrm>
        </p:spPr>
        <p:txBody>
          <a:bodyPr/>
          <a:lstStyle>
            <a:lvl1pPr marL="0" indent="0">
              <a:buNone/>
              <a:defRPr sz="1350">
                <a:solidFill>
                  <a:schemeClr val="tx1">
                    <a:tint val="75000"/>
                  </a:schemeClr>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28650" y="4767264"/>
            <a:ext cx="2057400" cy="273844"/>
          </a:xfrm>
          <a:prstGeom prst="rect">
            <a:avLst/>
          </a:prstGeom>
        </p:spPr>
        <p:txBody>
          <a:bodyPr/>
          <a:lstStyle/>
          <a:p>
            <a:fld id="{5DA47EA3-FCF5-4752-9D37-5AF47849BDA4}" type="datetimeFigureOut">
              <a:rPr lang="en-US" smtClean="0"/>
              <a:t>10/7/2019</a:t>
            </a:fld>
            <a:endParaRPr lang="en-US" dirty="0"/>
          </a:p>
        </p:txBody>
      </p:sp>
      <p:sp>
        <p:nvSpPr>
          <p:cNvPr id="5" name="Footer Placeholder 4"/>
          <p:cNvSpPr>
            <a:spLocks noGrp="1"/>
          </p:cNvSpPr>
          <p:nvPr>
            <p:ph type="ftr" sz="quarter" idx="11"/>
          </p:nvPr>
        </p:nvSpPr>
        <p:spPr>
          <a:xfrm>
            <a:off x="3028950" y="4767264"/>
            <a:ext cx="30861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457950" y="4767264"/>
            <a:ext cx="2057400" cy="273844"/>
          </a:xfrm>
          <a:prstGeom prst="rect">
            <a:avLst/>
          </a:prstGeom>
        </p:spPr>
        <p:txBody>
          <a:bodyPr/>
          <a:lstStyle/>
          <a:p>
            <a:fld id="{F7014360-9877-4C41-9F3C-0F79B2AC9D90}" type="slidenum">
              <a:rPr lang="en-US" smtClean="0"/>
              <a:t>‹#›</a:t>
            </a:fld>
            <a:endParaRPr lang="en-US" dirty="0"/>
          </a:p>
        </p:txBody>
      </p:sp>
    </p:spTree>
    <p:extLst>
      <p:ext uri="{BB962C8B-B14F-4D97-AF65-F5344CB8AC3E}">
        <p14:creationId xmlns:p14="http://schemas.microsoft.com/office/powerpoint/2010/main" val="3627533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6"/>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1" y="1260872"/>
            <a:ext cx="3887391" cy="617934"/>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4629151"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28650" y="4767264"/>
            <a:ext cx="2057400" cy="273844"/>
          </a:xfrm>
          <a:prstGeom prst="rect">
            <a:avLst/>
          </a:prstGeom>
        </p:spPr>
        <p:txBody>
          <a:bodyPr/>
          <a:lstStyle/>
          <a:p>
            <a:fld id="{5DA47EA3-FCF5-4752-9D37-5AF47849BDA4}" type="datetimeFigureOut">
              <a:rPr lang="en-US" smtClean="0"/>
              <a:t>10/7/2019</a:t>
            </a:fld>
            <a:endParaRPr lang="en-US" dirty="0"/>
          </a:p>
        </p:txBody>
      </p:sp>
      <p:sp>
        <p:nvSpPr>
          <p:cNvPr id="8" name="Footer Placeholder 7"/>
          <p:cNvSpPr>
            <a:spLocks noGrp="1"/>
          </p:cNvSpPr>
          <p:nvPr>
            <p:ph type="ftr" sz="quarter" idx="11"/>
          </p:nvPr>
        </p:nvSpPr>
        <p:spPr>
          <a:xfrm>
            <a:off x="3028950" y="4767264"/>
            <a:ext cx="3086100" cy="273844"/>
          </a:xfrm>
          <a:prstGeom prst="rect">
            <a:avLst/>
          </a:prstGeom>
        </p:spPr>
        <p:txBody>
          <a:bodyPr/>
          <a:lstStyle/>
          <a:p>
            <a:endParaRPr lang="en-US" dirty="0"/>
          </a:p>
        </p:txBody>
      </p:sp>
      <p:sp>
        <p:nvSpPr>
          <p:cNvPr id="9" name="Slide Number Placeholder 8"/>
          <p:cNvSpPr>
            <a:spLocks noGrp="1"/>
          </p:cNvSpPr>
          <p:nvPr>
            <p:ph type="sldNum" sz="quarter" idx="12"/>
          </p:nvPr>
        </p:nvSpPr>
        <p:spPr>
          <a:xfrm>
            <a:off x="6457950" y="4767264"/>
            <a:ext cx="2057400" cy="273844"/>
          </a:xfrm>
          <a:prstGeom prst="rect">
            <a:avLst/>
          </a:prstGeom>
        </p:spPr>
        <p:txBody>
          <a:bodyPr/>
          <a:lstStyle/>
          <a:p>
            <a:fld id="{F7014360-9877-4C41-9F3C-0F79B2AC9D90}" type="slidenum">
              <a:rPr lang="en-US" smtClean="0"/>
              <a:t>‹#›</a:t>
            </a:fld>
            <a:endParaRPr lang="en-US" dirty="0"/>
          </a:p>
        </p:txBody>
      </p:sp>
    </p:spTree>
    <p:extLst>
      <p:ext uri="{BB962C8B-B14F-4D97-AF65-F5344CB8AC3E}">
        <p14:creationId xmlns:p14="http://schemas.microsoft.com/office/powerpoint/2010/main" val="35657554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Sub-section - option #2">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1590262" y="4177654"/>
            <a:ext cx="7310781" cy="386264"/>
          </a:xfrm>
        </p:spPr>
        <p:txBody>
          <a:bodyPr/>
          <a:lstStyle>
            <a:lvl1pPr algn="r">
              <a:defRPr sz="3600">
                <a:solidFill>
                  <a:schemeClr val="bg1"/>
                </a:solidFill>
                <a:latin typeface="Helvetica"/>
                <a:cs typeface="Helvetica"/>
              </a:defRPr>
            </a:lvl1pPr>
          </a:lstStyle>
          <a:p>
            <a:r>
              <a:rPr lang="en-US"/>
              <a:t>Click to edit Master title style</a:t>
            </a:r>
          </a:p>
        </p:txBody>
      </p:sp>
      <p:sp>
        <p:nvSpPr>
          <p:cNvPr id="3" name="Subtitle 2"/>
          <p:cNvSpPr>
            <a:spLocks noGrp="1"/>
          </p:cNvSpPr>
          <p:nvPr>
            <p:ph type="subTitle" idx="1"/>
          </p:nvPr>
        </p:nvSpPr>
        <p:spPr>
          <a:xfrm>
            <a:off x="2838174" y="4572000"/>
            <a:ext cx="6062868" cy="460513"/>
          </a:xfrm>
        </p:spPr>
        <p:txBody>
          <a:bodyPr>
            <a:normAutofit/>
          </a:bodyPr>
          <a:lstStyle>
            <a:lvl1pPr marL="0" indent="0" algn="r">
              <a:buNone/>
              <a:defRPr sz="2400">
                <a:solidFill>
                  <a:schemeClr val="bg1"/>
                </a:solidFill>
                <a:latin typeface="Helvetica"/>
                <a:cs typeface="Helvetic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7" name="Picture 6" descr="SoftchoiceLogo2010_tagline.eps"/>
          <p:cNvPicPr>
            <a:picLocks noChangeAspect="1"/>
          </p:cNvPicPr>
          <p:nvPr/>
        </p:nvPicPr>
        <p:blipFill rotWithShape="1">
          <a:blip r:embed="rId3">
            <a:duotone>
              <a:schemeClr val="bg2">
                <a:shade val="45000"/>
                <a:satMod val="135000"/>
              </a:schemeClr>
              <a:prstClr val="white"/>
            </a:duotone>
            <a:lum bright="100000" contrast="100000"/>
            <a:extLst>
              <a:ext uri="{28A0092B-C50C-407E-A947-70E740481C1C}">
                <a14:useLocalDpi xmlns:a14="http://schemas.microsoft.com/office/drawing/2010/main" val="0"/>
              </a:ext>
            </a:extLst>
          </a:blip>
          <a:srcRect b="16679"/>
          <a:stretch/>
        </p:blipFill>
        <p:spPr>
          <a:xfrm>
            <a:off x="7001045" y="221143"/>
            <a:ext cx="1805940" cy="685700"/>
          </a:xfrm>
          <a:prstGeom prst="rect">
            <a:avLst/>
          </a:prstGeom>
          <a:effectLst>
            <a:outerShdw blurRad="63500" sx="102000" sy="102000" algn="ctr" rotWithShape="0">
              <a:prstClr val="black">
                <a:alpha val="40000"/>
              </a:prstClr>
            </a:outerShdw>
          </a:effectLst>
        </p:spPr>
      </p:pic>
    </p:spTree>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8" y="2114705"/>
            <a:ext cx="8363938" cy="914096"/>
          </a:xfrm>
        </p:spPr>
        <p:txBody>
          <a:bodyPr anchor="b" anchorCtr="0"/>
          <a:lstStyle>
            <a:lvl1pPr>
              <a:defRPr sz="4949" spc="-169" baseline="0">
                <a:gradFill>
                  <a:gsLst>
                    <a:gs pos="100000">
                      <a:schemeClr val="tx2"/>
                    </a:gs>
                    <a:gs pos="0">
                      <a:schemeClr val="tx2"/>
                    </a:gs>
                  </a:gsLst>
                  <a:lin ang="5400000" scaled="0"/>
                </a:gradFill>
              </a:defRPr>
            </a:lvl1pPr>
          </a:lstStyle>
          <a:p>
            <a:r>
              <a:rPr lang="en-US"/>
              <a:t>Click to edit title style</a:t>
            </a:r>
          </a:p>
        </p:txBody>
      </p:sp>
    </p:spTree>
    <p:extLst>
      <p:ext uri="{BB962C8B-B14F-4D97-AF65-F5344CB8AC3E}">
        <p14:creationId xmlns:p14="http://schemas.microsoft.com/office/powerpoint/2010/main" val="188295175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737130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9" y="1085849"/>
            <a:ext cx="8363938" cy="1481945"/>
          </a:xfrm>
          <a:prstGeom prst="rect">
            <a:avLst/>
          </a:prstGeom>
        </p:spPr>
        <p:txBody>
          <a:bodyPr/>
          <a:lstStyle>
            <a:lvl1pPr marL="0" indent="0">
              <a:spcBef>
                <a:spcPts val="1349"/>
              </a:spcBef>
              <a:buNone/>
              <a:defRPr sz="2249">
                <a:gradFill>
                  <a:gsLst>
                    <a:gs pos="100000">
                      <a:schemeClr val="tx2"/>
                    </a:gs>
                    <a:gs pos="0">
                      <a:schemeClr val="tx2"/>
                    </a:gs>
                  </a:gsLst>
                  <a:lin ang="5400000" scaled="0"/>
                </a:gradFill>
                <a:latin typeface="+mj-lt"/>
              </a:defRPr>
            </a:lvl1pPr>
            <a:lvl2pPr marL="0" indent="0">
              <a:buNone/>
              <a:defRPr sz="1124">
                <a:gradFill>
                  <a:gsLst>
                    <a:gs pos="100000">
                      <a:schemeClr val="bg2"/>
                    </a:gs>
                    <a:gs pos="6000">
                      <a:schemeClr val="bg2"/>
                    </a:gs>
                  </a:gsLst>
                  <a:lin ang="5400000" scaled="0"/>
                </a:gradFill>
              </a:defRPr>
            </a:lvl2pPr>
            <a:lvl3pPr marL="130305" indent="0">
              <a:buNone/>
              <a:defRPr sz="1124">
                <a:gradFill>
                  <a:gsLst>
                    <a:gs pos="100000">
                      <a:schemeClr val="bg2"/>
                    </a:gs>
                    <a:gs pos="6000">
                      <a:schemeClr val="bg2"/>
                    </a:gs>
                  </a:gsLst>
                  <a:lin ang="5400000" scaled="0"/>
                </a:gradFill>
              </a:defRPr>
            </a:lvl3pPr>
            <a:lvl4pPr marL="257040" indent="0">
              <a:buNone/>
              <a:defRPr sz="1124">
                <a:gradFill>
                  <a:gsLst>
                    <a:gs pos="100000">
                      <a:schemeClr val="bg2"/>
                    </a:gs>
                    <a:gs pos="6000">
                      <a:schemeClr val="bg2"/>
                    </a:gs>
                  </a:gsLst>
                  <a:lin ang="5400000" scaled="0"/>
                </a:gradFill>
              </a:defRPr>
            </a:lvl4pPr>
            <a:lvl5pPr marL="390023" indent="0">
              <a:buNone/>
              <a:defRPr sz="1124">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390627" y="4799668"/>
            <a:ext cx="420624" cy="164592"/>
          </a:xfrm>
          <a:prstGeom prst="rect">
            <a:avLst/>
          </a:prstGeom>
        </p:spPr>
        <p:txBody>
          <a:bodyPr lIns="121899" tIns="60949" rIns="121899" bIns="60949" anchor="ctr"/>
          <a:lstStyle>
            <a:lvl1pPr algn="l">
              <a:defRPr sz="900">
                <a:gradFill>
                  <a:gsLst>
                    <a:gs pos="100000">
                      <a:schemeClr val="bg2"/>
                    </a:gs>
                    <a:gs pos="0">
                      <a:schemeClr val="bg2"/>
                    </a:gs>
                  </a:gsLst>
                  <a:lin ang="5400000" scaled="0"/>
                </a:gradFill>
              </a:defRPr>
            </a:lvl1pPr>
          </a:lstStyle>
          <a:p>
            <a:pPr defTabSz="514060"/>
            <a:fld id="{727B4C2D-45E2-4621-8491-2995EB46A674}" type="slidenum">
              <a:rPr lang="en-US" smtClean="0">
                <a:gradFill>
                  <a:gsLst>
                    <a:gs pos="100000">
                      <a:srgbClr val="797A7D"/>
                    </a:gs>
                    <a:gs pos="0">
                      <a:srgbClr val="797A7D"/>
                    </a:gs>
                  </a:gsLst>
                  <a:lin ang="5400000" scaled="0"/>
                </a:gradFill>
              </a:rPr>
              <a:pPr defTabSz="514060"/>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0367251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01290" y="202073"/>
            <a:ext cx="7543800" cy="827195"/>
          </a:xfrm>
        </p:spPr>
        <p:txBody>
          <a:bodyPr/>
          <a:lstStyle>
            <a:lvl1pPr marL="0">
              <a:defRPr/>
            </a:lvl1pPr>
          </a:lstStyle>
          <a:p>
            <a:r>
              <a:rPr lang="en-US"/>
              <a:t>Click to edit Master title style</a:t>
            </a:r>
          </a:p>
        </p:txBody>
      </p:sp>
      <p:sp>
        <p:nvSpPr>
          <p:cNvPr id="3" name="Content Placeholder 2"/>
          <p:cNvSpPr>
            <a:spLocks noGrp="1"/>
          </p:cNvSpPr>
          <p:nvPr>
            <p:ph idx="1"/>
          </p:nvPr>
        </p:nvSpPr>
        <p:spPr>
          <a:xfrm>
            <a:off x="801290" y="1263277"/>
            <a:ext cx="7543800" cy="3017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smtClean="0"/>
              <a:t>10/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cxnSp>
        <p:nvCxnSpPr>
          <p:cNvPr id="7" name="Straight Connector 6"/>
          <p:cNvCxnSpPr/>
          <p:nvPr userDrawn="1"/>
        </p:nvCxnSpPr>
        <p:spPr>
          <a:xfrm flipV="1">
            <a:off x="755724" y="1029268"/>
            <a:ext cx="7184765" cy="29421"/>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5112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4" y="-234"/>
            <a:ext cx="9143533" cy="5143967"/>
          </a:xfrm>
          <a:prstGeom prst="rect">
            <a:avLst/>
          </a:prstGeom>
        </p:spPr>
      </p:pic>
      <p:pic>
        <p:nvPicPr>
          <p:cNvPr id="6"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white">
          <a:xfrm>
            <a:off x="338725" y="352550"/>
            <a:ext cx="1067477" cy="228621"/>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06851" y="3176063"/>
            <a:ext cx="3414560" cy="1344813"/>
          </a:xfrm>
          <a:prstGeom prst="rect">
            <a:avLst/>
          </a:prstGeom>
        </p:spPr>
      </p:pic>
    </p:spTree>
    <p:extLst>
      <p:ext uri="{BB962C8B-B14F-4D97-AF65-F5344CB8AC3E}">
        <p14:creationId xmlns:p14="http://schemas.microsoft.com/office/powerpoint/2010/main" val="161673678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563140"/>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2908930"/>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338725" y="352550"/>
            <a:ext cx="1067477" cy="228621"/>
          </a:xfrm>
          <a:prstGeom prst="rect">
            <a:avLst/>
          </a:prstGeom>
        </p:spPr>
      </p:pic>
      <p:sp>
        <p:nvSpPr>
          <p:cNvPr id="3" name="Text Placeholder 2"/>
          <p:cNvSpPr>
            <a:spLocks noGrp="1"/>
          </p:cNvSpPr>
          <p:nvPr>
            <p:ph type="body" sz="quarter" idx="13" hasCustomPrompt="1"/>
          </p:nvPr>
        </p:nvSpPr>
        <p:spPr>
          <a:xfrm>
            <a:off x="5580479" y="218302"/>
            <a:ext cx="3361593" cy="429092"/>
          </a:xfrm>
        </p:spPr>
        <p:txBody>
          <a:bodyPr/>
          <a:lstStyle>
            <a:lvl1pPr marL="0" indent="0" algn="r">
              <a:buNone/>
              <a:defRPr sz="1765">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en-US"/>
              <a:t>Session code</a:t>
            </a:r>
          </a:p>
        </p:txBody>
      </p:sp>
    </p:spTree>
    <p:extLst>
      <p:ext uri="{BB962C8B-B14F-4D97-AF65-F5344CB8AC3E}">
        <p14:creationId xmlns:p14="http://schemas.microsoft.com/office/powerpoint/2010/main" val="427666994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891883"/>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4273690"/>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01977" y="890734"/>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9947413"/>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890733"/>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0733"/>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8985572"/>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890733"/>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0733"/>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393526535"/>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py">
    <p:bg>
      <p:bgRef idx="1001">
        <a:schemeClr val="bg1"/>
      </p:bgRef>
    </p:bg>
    <p:spTree>
      <p:nvGrpSpPr>
        <p:cNvPr id="1" name=""/>
        <p:cNvGrpSpPr/>
        <p:nvPr/>
      </p:nvGrpSpPr>
      <p:grpSpPr>
        <a:xfrm>
          <a:off x="0" y="0"/>
          <a:ext cx="0" cy="0"/>
          <a:chOff x="0" y="0"/>
          <a:chExt cx="0" cy="0"/>
        </a:xfrm>
      </p:grpSpPr>
      <p:sp>
        <p:nvSpPr>
          <p:cNvPr id="8" name="Rectangle 7"/>
          <p:cNvSpPr/>
          <p:nvPr/>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0" y="0"/>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new_Softchoice_logo.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28003" y="4457431"/>
            <a:ext cx="1016000" cy="584200"/>
          </a:xfrm>
          <a:prstGeom prst="rect">
            <a:avLst/>
          </a:prstGeom>
        </p:spPr>
      </p:pic>
      <p:sp>
        <p:nvSpPr>
          <p:cNvPr id="10" name="Title 1"/>
          <p:cNvSpPr>
            <a:spLocks noGrp="1"/>
          </p:cNvSpPr>
          <p:nvPr>
            <p:ph type="title"/>
          </p:nvPr>
        </p:nvSpPr>
        <p:spPr>
          <a:xfrm>
            <a:off x="121482" y="129321"/>
            <a:ext cx="8493881" cy="513522"/>
          </a:xfrm>
        </p:spPr>
        <p:txBody>
          <a:bodyPr>
            <a:normAutofit/>
          </a:bodyPr>
          <a:lstStyle>
            <a:lvl1pPr algn="l">
              <a:defRPr sz="2800">
                <a:solidFill>
                  <a:srgbClr val="FFFFFF"/>
                </a:solidFill>
                <a:latin typeface="Helvetica"/>
                <a:cs typeface="Helvetica"/>
              </a:defRPr>
            </a:lvl1pPr>
          </a:lstStyle>
          <a:p>
            <a:r>
              <a:rPr lang="en-US"/>
              <a:t>Click to edit Master title style</a:t>
            </a:r>
          </a:p>
        </p:txBody>
      </p:sp>
      <p:sp>
        <p:nvSpPr>
          <p:cNvPr id="13" name="Text Placeholder 12"/>
          <p:cNvSpPr>
            <a:spLocks noGrp="1"/>
          </p:cNvSpPr>
          <p:nvPr>
            <p:ph type="body" sz="quarter" idx="11"/>
          </p:nvPr>
        </p:nvSpPr>
        <p:spPr>
          <a:xfrm>
            <a:off x="331789" y="1002507"/>
            <a:ext cx="8491537" cy="3277215"/>
          </a:xfrm>
        </p:spPr>
        <p:txBody>
          <a:bodyPr>
            <a:normAutofit/>
          </a:bodyPr>
          <a:lstStyle>
            <a:lvl1pPr>
              <a:defRPr sz="2800">
                <a:latin typeface="Helvetica"/>
                <a:cs typeface="Helvetica"/>
              </a:defRPr>
            </a:lvl1pPr>
            <a:lvl2pPr>
              <a:defRPr sz="2400">
                <a:latin typeface="Helvetica"/>
                <a:cs typeface="Helvetica"/>
              </a:defRPr>
            </a:lvl2pPr>
            <a:lvl3pPr>
              <a:defRPr sz="2000">
                <a:latin typeface="Helvetica"/>
                <a:cs typeface="Helvetica"/>
              </a:defRPr>
            </a:lvl3pPr>
            <a:lvl4pPr>
              <a:defRPr sz="1800">
                <a:latin typeface="Helvetica"/>
                <a:cs typeface="Helvetica"/>
              </a:defRPr>
            </a:lvl4pPr>
            <a:lvl5pPr>
              <a:defRPr sz="1800">
                <a:latin typeface="Helvetica"/>
                <a:cs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8694114" y="260067"/>
            <a:ext cx="258422" cy="258422"/>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lvl="0" algn="ctr"/>
            <a:fld id="{9A1CA675-59C5-1A43-B32F-773BB9D73629}" type="slidenum">
              <a:rPr lang="en-US" sz="700" smtClean="0">
                <a:solidFill>
                  <a:prstClr val="white"/>
                </a:solidFill>
                <a:latin typeface="Helvetica" charset="0"/>
                <a:ea typeface="Helvetica" charset="0"/>
                <a:cs typeface="Helvetica" charset="0"/>
              </a:rPr>
              <a:t>‹#›</a:t>
            </a:fld>
            <a:endParaRPr lang="en-US" sz="700" dirty="0">
              <a:solidFill>
                <a:prstClr val="white"/>
              </a:solidFill>
              <a:latin typeface="Helvetica" charset="0"/>
              <a:ea typeface="Helvetica" charset="0"/>
              <a:cs typeface="Helvetica" charset="0"/>
            </a:endParaRPr>
          </a:p>
        </p:txBody>
      </p:sp>
      <p:sp>
        <p:nvSpPr>
          <p:cNvPr id="11" name="Rectangle 10"/>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Rectangle 13"/>
          <p:cNvSpPr/>
          <p:nvPr userDrawn="1"/>
        </p:nvSpPr>
        <p:spPr>
          <a:xfrm>
            <a:off x="0" y="0"/>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5" name="Picture 14" descr="new_Softchoice_logo.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28003" y="4457431"/>
            <a:ext cx="1016000" cy="584200"/>
          </a:xfrm>
          <a:prstGeom prst="rect">
            <a:avLst/>
          </a:prstGeom>
        </p:spPr>
      </p:pic>
      <p:sp>
        <p:nvSpPr>
          <p:cNvPr id="16" name="Rectangle 15"/>
          <p:cNvSpPr/>
          <p:nvPr userDrawn="1"/>
        </p:nvSpPr>
        <p:spPr>
          <a:xfrm>
            <a:off x="8694114" y="260067"/>
            <a:ext cx="258422" cy="258422"/>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lvl="0" algn="ctr"/>
            <a:fld id="{9A1CA675-59C5-1A43-B32F-773BB9D73629}" type="slidenum">
              <a:rPr lang="en-US" sz="700" smtClean="0">
                <a:solidFill>
                  <a:prstClr val="white"/>
                </a:solidFill>
                <a:latin typeface="Helvetica" charset="0"/>
                <a:ea typeface="Helvetica" charset="0"/>
                <a:cs typeface="Helvetica" charset="0"/>
              </a:rPr>
              <a:t>‹#›</a:t>
            </a:fld>
            <a:endParaRPr lang="en-US" sz="700" dirty="0">
              <a:solidFill>
                <a:prstClr val="white"/>
              </a:solidFill>
              <a:latin typeface="Helvetica" charset="0"/>
              <a:ea typeface="Helvetica" charset="0"/>
              <a:cs typeface="Helvetica" charset="0"/>
            </a:endParaRPr>
          </a:p>
        </p:txBody>
      </p:sp>
    </p:spTree>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6765812"/>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40"/>
            <a:ext cx="7394337" cy="917880"/>
          </a:xfrm>
          <a:noFill/>
        </p:spPr>
        <p:txBody>
          <a:bodyPr tIns="91440" bIns="91440" anchor="t" anchorCtr="0">
            <a:spAutoFit/>
          </a:bodyPr>
          <a:lstStyle>
            <a:lvl1pPr>
              <a:defRPr sz="5294" spc="-74"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01930" y="2907958"/>
            <a:ext cx="7395506" cy="621324"/>
          </a:xfrm>
          <a:noFill/>
        </p:spPr>
        <p:txBody>
          <a:bodyPr lIns="182880" tIns="146304" rIns="182880" bIns="146304">
            <a:spAutoFit/>
          </a:bodyPr>
          <a:lstStyle>
            <a:lvl1pPr marL="0" indent="0">
              <a:spcBef>
                <a:spcPts val="0"/>
              </a:spcBef>
              <a:buNone/>
              <a:defRPr sz="235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9280170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40"/>
            <a:ext cx="7394337" cy="917880"/>
          </a:xfrm>
          <a:noFill/>
        </p:spPr>
        <p:txBody>
          <a:bodyPr tIns="91440" bIns="91440" anchor="t" anchorCtr="0">
            <a:spAutoFit/>
          </a:bodyPr>
          <a:lstStyle>
            <a:lvl1pPr>
              <a:defRPr lang="en-US" sz="5294"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77437219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86486226"/>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1563129"/>
            <a:ext cx="8740142" cy="917880"/>
          </a:xfrm>
          <a:noFill/>
        </p:spPr>
        <p:txBody>
          <a:bodyPr tIns="91440" bIns="91440" anchor="t" anchorCtr="0">
            <a:spAutoFit/>
          </a:bodyPr>
          <a:lstStyle>
            <a:lvl1pPr>
              <a:defRPr sz="5294"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1057876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789508"/>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70485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577"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29" y="897991"/>
            <a:ext cx="8740142" cy="1715791"/>
          </a:xfrm>
        </p:spPr>
        <p:txBody>
          <a:bodyPr/>
          <a:lstStyle>
            <a:lvl1pPr marL="0" indent="0">
              <a:buNone/>
              <a:defRPr sz="242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54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298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5988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77271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6523702"/>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0" y="4574393"/>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338725" y="352550"/>
            <a:ext cx="1067477" cy="228621"/>
          </a:xfrm>
          <a:prstGeom prst="rect">
            <a:avLst/>
          </a:prstGeom>
        </p:spPr>
      </p:pic>
    </p:spTree>
    <p:extLst>
      <p:ext uri="{BB962C8B-B14F-4D97-AF65-F5344CB8AC3E}">
        <p14:creationId xmlns:p14="http://schemas.microsoft.com/office/powerpoint/2010/main" val="257252639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891883"/>
            <a:ext cx="8740142" cy="1845826"/>
          </a:xfrm>
          <a:prstGeom prst="rect">
            <a:avLst/>
          </a:prstGeom>
        </p:spPr>
        <p:txBody>
          <a:bodyPr/>
          <a:lstStyle>
            <a:lvl1pPr marL="213593" indent="-213593">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181" indent="-20659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773" indent="-213593">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846" indent="-168073">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69919" indent="-168073">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7193009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py (No Logo)">
    <p:bg>
      <p:bgRef idx="1001">
        <a:schemeClr val="bg1"/>
      </p:bgRef>
    </p:bg>
    <p:spTree>
      <p:nvGrpSpPr>
        <p:cNvPr id="1" name=""/>
        <p:cNvGrpSpPr/>
        <p:nvPr/>
      </p:nvGrpSpPr>
      <p:grpSpPr>
        <a:xfrm>
          <a:off x="0" y="0"/>
          <a:ext cx="0" cy="0"/>
          <a:chOff x="0" y="0"/>
          <a:chExt cx="0" cy="0"/>
        </a:xfrm>
      </p:grpSpPr>
      <p:sp>
        <p:nvSpPr>
          <p:cNvPr id="8" name="Rectangle 7"/>
          <p:cNvSpPr/>
          <p:nvPr/>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0" y="0"/>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121483" y="129321"/>
            <a:ext cx="8501024" cy="513522"/>
          </a:xfrm>
        </p:spPr>
        <p:txBody>
          <a:bodyPr>
            <a:normAutofit/>
          </a:bodyPr>
          <a:lstStyle>
            <a:lvl1pPr algn="l">
              <a:defRPr sz="2800">
                <a:solidFill>
                  <a:srgbClr val="FFFFFF"/>
                </a:solidFill>
                <a:latin typeface="Helvetica"/>
                <a:cs typeface="Helvetica"/>
              </a:defRPr>
            </a:lvl1pPr>
          </a:lstStyle>
          <a:p>
            <a:r>
              <a:rPr lang="en-US"/>
              <a:t>Click to edit Master title style</a:t>
            </a:r>
          </a:p>
        </p:txBody>
      </p:sp>
      <p:sp>
        <p:nvSpPr>
          <p:cNvPr id="13" name="Text Placeholder 12"/>
          <p:cNvSpPr>
            <a:spLocks noGrp="1"/>
          </p:cNvSpPr>
          <p:nvPr>
            <p:ph type="body" sz="quarter" idx="11"/>
          </p:nvPr>
        </p:nvSpPr>
        <p:spPr>
          <a:xfrm>
            <a:off x="331789" y="1002507"/>
            <a:ext cx="8491537" cy="3786061"/>
          </a:xfrm>
        </p:spPr>
        <p:txBody>
          <a:bodyPr>
            <a:normAutofit/>
          </a:bodyPr>
          <a:lstStyle>
            <a:lvl1pPr>
              <a:defRPr sz="2800">
                <a:latin typeface="Helvetica"/>
                <a:cs typeface="Helvetica"/>
              </a:defRPr>
            </a:lvl1pPr>
            <a:lvl2pPr>
              <a:defRPr sz="2400">
                <a:latin typeface="Helvetica"/>
                <a:cs typeface="Helvetica"/>
              </a:defRPr>
            </a:lvl2pPr>
            <a:lvl3pPr>
              <a:defRPr sz="2000">
                <a:latin typeface="Helvetica"/>
                <a:cs typeface="Helvetica"/>
              </a:defRPr>
            </a:lvl3pPr>
            <a:lvl4pPr>
              <a:defRPr sz="1800">
                <a:latin typeface="Helvetica"/>
                <a:cs typeface="Helvetica"/>
              </a:defRPr>
            </a:lvl4pPr>
            <a:lvl5pPr>
              <a:defRPr sz="1800">
                <a:latin typeface="Helvetica"/>
                <a:cs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p:nvSpPr>
        <p:spPr>
          <a:xfrm>
            <a:off x="8694114" y="260067"/>
            <a:ext cx="258422" cy="258422"/>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lvl="0" algn="ctr"/>
            <a:fld id="{9A1CA675-59C5-1A43-B32F-773BB9D73629}" type="slidenum">
              <a:rPr lang="en-US" sz="700" smtClean="0">
                <a:solidFill>
                  <a:prstClr val="white"/>
                </a:solidFill>
                <a:latin typeface="Helvetica" charset="0"/>
                <a:ea typeface="Helvetica" charset="0"/>
                <a:cs typeface="Helvetica" charset="0"/>
              </a:rPr>
              <a:t>‹#›</a:t>
            </a:fld>
            <a:endParaRPr lang="en-US" sz="700" dirty="0">
              <a:solidFill>
                <a:prstClr val="white"/>
              </a:solidFill>
              <a:latin typeface="Helvetica" charset="0"/>
              <a:ea typeface="Helvetica" charset="0"/>
              <a:cs typeface="Helvetica" charset="0"/>
            </a:endParaRPr>
          </a:p>
        </p:txBody>
      </p:sp>
      <p:sp>
        <p:nvSpPr>
          <p:cNvPr id="7" name="Rectangle 6"/>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0" y="0"/>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8694114" y="260067"/>
            <a:ext cx="258422" cy="258422"/>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lvl="0" algn="ctr"/>
            <a:fld id="{9A1CA675-59C5-1A43-B32F-773BB9D73629}" type="slidenum">
              <a:rPr lang="en-US" sz="700" smtClean="0">
                <a:solidFill>
                  <a:prstClr val="white"/>
                </a:solidFill>
                <a:latin typeface="Helvetica" charset="0"/>
                <a:ea typeface="Helvetica" charset="0"/>
                <a:cs typeface="Helvetica" charset="0"/>
              </a:rPr>
              <a:t>‹#›</a:t>
            </a:fld>
            <a:endParaRPr lang="en-US" sz="700" dirty="0">
              <a:solidFill>
                <a:prstClr val="white"/>
              </a:solidFill>
              <a:latin typeface="Helvetica" charset="0"/>
              <a:ea typeface="Helvetica" charset="0"/>
              <a:cs typeface="Helvetica" charset="0"/>
            </a:endParaRPr>
          </a:p>
        </p:txBody>
      </p:sp>
    </p:spTree>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F5A1A-DFF3-4093-A802-6F05D81BEED0}"/>
              </a:ext>
            </a:extLst>
          </p:cNvPr>
          <p:cNvSpPr>
            <a:spLocks noGrp="1"/>
          </p:cNvSpPr>
          <p:nvPr>
            <p:ph type="ctrTitle"/>
          </p:nvPr>
        </p:nvSpPr>
        <p:spPr>
          <a:xfrm>
            <a:off x="1143000" y="841772"/>
            <a:ext cx="6858000" cy="1790700"/>
          </a:xfrm>
        </p:spPr>
        <p:txBody>
          <a:bodyPr anchor="b"/>
          <a:lstStyle>
            <a:lvl1pPr algn="ctr">
              <a:defRPr sz="4497"/>
            </a:lvl1pPr>
          </a:lstStyle>
          <a:p>
            <a:r>
              <a:rPr lang="en-US"/>
              <a:t>Click to edit Master title style</a:t>
            </a:r>
          </a:p>
        </p:txBody>
      </p:sp>
      <p:sp>
        <p:nvSpPr>
          <p:cNvPr id="3" name="Subtitle 2">
            <a:extLst>
              <a:ext uri="{FF2B5EF4-FFF2-40B4-BE49-F238E27FC236}">
                <a16:creationId xmlns:a16="http://schemas.microsoft.com/office/drawing/2014/main" id="{B060D25F-73CD-428A-8162-FAA4ED55CADC}"/>
              </a:ext>
            </a:extLst>
          </p:cNvPr>
          <p:cNvSpPr>
            <a:spLocks noGrp="1"/>
          </p:cNvSpPr>
          <p:nvPr>
            <p:ph type="subTitle" idx="1"/>
          </p:nvPr>
        </p:nvSpPr>
        <p:spPr>
          <a:xfrm>
            <a:off x="1143000" y="2701530"/>
            <a:ext cx="6858000" cy="433965"/>
          </a:xfrm>
        </p:spPr>
        <p:txBody>
          <a:bodyPr/>
          <a:lstStyle>
            <a:lvl1pPr marL="0" indent="0" algn="ctr">
              <a:buNone/>
              <a:defRPr sz="1800"/>
            </a:lvl1pPr>
            <a:lvl2pPr marL="342769" indent="0" algn="ctr">
              <a:buNone/>
              <a:defRPr sz="1500"/>
            </a:lvl2pPr>
            <a:lvl3pPr marL="685537" indent="0" algn="ctr">
              <a:buNone/>
              <a:defRPr sz="1350"/>
            </a:lvl3pPr>
            <a:lvl4pPr marL="1028306" indent="0" algn="ctr">
              <a:buNone/>
              <a:defRPr sz="1200"/>
            </a:lvl4pPr>
            <a:lvl5pPr marL="1371074" indent="0" algn="ctr">
              <a:buNone/>
              <a:defRPr sz="1200"/>
            </a:lvl5pPr>
            <a:lvl6pPr marL="1713842" indent="0" algn="ctr">
              <a:buNone/>
              <a:defRPr sz="1200"/>
            </a:lvl6pPr>
            <a:lvl7pPr marL="2056610" indent="0" algn="ctr">
              <a:buNone/>
              <a:defRPr sz="1200"/>
            </a:lvl7pPr>
            <a:lvl8pPr marL="2399378" indent="0" algn="ctr">
              <a:buNone/>
              <a:defRPr sz="1200"/>
            </a:lvl8pPr>
            <a:lvl9pPr marL="2742146"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8A70F3FC-F1B8-4F82-8B63-A9C5D923F2E4}"/>
              </a:ext>
            </a:extLst>
          </p:cNvPr>
          <p:cNvSpPr>
            <a:spLocks noGrp="1"/>
          </p:cNvSpPr>
          <p:nvPr>
            <p:ph type="dt" sz="half" idx="10"/>
          </p:nvPr>
        </p:nvSpPr>
        <p:spPr/>
        <p:txBody>
          <a:bodyPr/>
          <a:lstStyle/>
          <a:p>
            <a:pPr defTabSz="685775">
              <a:defRPr/>
            </a:pPr>
            <a:fld id="{1B43F78E-B083-4D00-876C-6B5CE35EA441}" type="datetimeFigureOut">
              <a:rPr lang="en-US" sz="1324" smtClean="0">
                <a:solidFill>
                  <a:srgbClr val="353535"/>
                </a:solidFill>
              </a:rPr>
              <a:pPr defTabSz="685775">
                <a:defRPr/>
              </a:pPr>
              <a:t>10/7/2019</a:t>
            </a:fld>
            <a:endParaRPr lang="en-US" sz="1324" dirty="0">
              <a:solidFill>
                <a:srgbClr val="353535"/>
              </a:solidFill>
            </a:endParaRPr>
          </a:p>
        </p:txBody>
      </p:sp>
      <p:sp>
        <p:nvSpPr>
          <p:cNvPr id="5" name="Footer Placeholder 4">
            <a:extLst>
              <a:ext uri="{FF2B5EF4-FFF2-40B4-BE49-F238E27FC236}">
                <a16:creationId xmlns:a16="http://schemas.microsoft.com/office/drawing/2014/main" id="{39D66D3A-F7EB-426C-809E-723F6AD53B09}"/>
              </a:ext>
            </a:extLst>
          </p:cNvPr>
          <p:cNvSpPr>
            <a:spLocks noGrp="1"/>
          </p:cNvSpPr>
          <p:nvPr>
            <p:ph type="ftr" sz="quarter" idx="11"/>
          </p:nvPr>
        </p:nvSpPr>
        <p:spPr/>
        <p:txBody>
          <a:bodyPr/>
          <a:lstStyle/>
          <a:p>
            <a:pPr defTabSz="685775">
              <a:defRPr/>
            </a:pPr>
            <a:endParaRPr lang="en-US" sz="1324" dirty="0">
              <a:solidFill>
                <a:srgbClr val="353535"/>
              </a:solidFill>
            </a:endParaRPr>
          </a:p>
        </p:txBody>
      </p:sp>
      <p:sp>
        <p:nvSpPr>
          <p:cNvPr id="6" name="Slide Number Placeholder 5">
            <a:extLst>
              <a:ext uri="{FF2B5EF4-FFF2-40B4-BE49-F238E27FC236}">
                <a16:creationId xmlns:a16="http://schemas.microsoft.com/office/drawing/2014/main" id="{B470E257-BC9D-47D9-8BA8-B74776C5861B}"/>
              </a:ext>
            </a:extLst>
          </p:cNvPr>
          <p:cNvSpPr>
            <a:spLocks noGrp="1"/>
          </p:cNvSpPr>
          <p:nvPr>
            <p:ph type="sldNum" sz="quarter" idx="12"/>
          </p:nvPr>
        </p:nvSpPr>
        <p:spPr/>
        <p:txBody>
          <a:bodyPr/>
          <a:lstStyle/>
          <a:p>
            <a:pPr defTabSz="685775">
              <a:defRPr/>
            </a:pPr>
            <a:fld id="{FAEDCD11-9E5C-4E05-8107-B305AD22C472}" type="slidenum">
              <a:rPr lang="en-US" sz="1324" smtClean="0">
                <a:solidFill>
                  <a:srgbClr val="353535"/>
                </a:solidFill>
              </a:rPr>
              <a:pPr defTabSz="685775">
                <a:defRPr/>
              </a:pPr>
              <a:t>‹#›</a:t>
            </a:fld>
            <a:endParaRPr lang="en-US" sz="1324" dirty="0">
              <a:solidFill>
                <a:srgbClr val="353535"/>
              </a:solidFill>
            </a:endParaRPr>
          </a:p>
        </p:txBody>
      </p:sp>
    </p:spTree>
    <p:extLst>
      <p:ext uri="{BB962C8B-B14F-4D97-AF65-F5344CB8AC3E}">
        <p14:creationId xmlns:p14="http://schemas.microsoft.com/office/powerpoint/2010/main" val="29269062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63651" y="2181225"/>
            <a:ext cx="6616700" cy="504825"/>
          </a:xfrm>
          <a:prstGeom prst="rect">
            <a:avLst/>
          </a:prstGeom>
        </p:spPr>
        <p:txBody>
          <a:bodyPr anchor="b"/>
          <a:lstStyle>
            <a:lvl1pPr algn="ctr">
              <a:defRPr sz="2625" b="0">
                <a:solidFill>
                  <a:schemeClr val="bg1"/>
                </a:solidFill>
                <a:latin typeface="Helvetica"/>
                <a:cs typeface="Helvetica"/>
              </a:defRPr>
            </a:lvl1pPr>
          </a:lstStyle>
          <a:p>
            <a:r>
              <a:rPr lang="en-US"/>
              <a:t>Click to edit Master title style</a:t>
            </a:r>
          </a:p>
        </p:txBody>
      </p:sp>
      <p:sp>
        <p:nvSpPr>
          <p:cNvPr id="9" name="Rectangle 8"/>
          <p:cNvSpPr/>
          <p:nvPr userDrawn="1"/>
        </p:nvSpPr>
        <p:spPr>
          <a:xfrm>
            <a:off x="0" y="5076825"/>
            <a:ext cx="9144000" cy="66675"/>
          </a:xfrm>
          <a:prstGeom prst="rect">
            <a:avLst/>
          </a:prstGeom>
          <a:solidFill>
            <a:srgbClr val="E26F2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prstClr val="white"/>
              </a:solidFill>
            </a:endParaRPr>
          </a:p>
        </p:txBody>
      </p:sp>
    </p:spTree>
    <p:extLst>
      <p:ext uri="{BB962C8B-B14F-4D97-AF65-F5344CB8AC3E}">
        <p14:creationId xmlns:p14="http://schemas.microsoft.com/office/powerpoint/2010/main" val="3036120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Just Title">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endParaRPr>
          </a:p>
        </p:txBody>
      </p:sp>
      <p:sp>
        <p:nvSpPr>
          <p:cNvPr id="8" name="Rectangle 7"/>
          <p:cNvSpPr/>
          <p:nvPr userDrawn="1"/>
        </p:nvSpPr>
        <p:spPr>
          <a:xfrm>
            <a:off x="0" y="1"/>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endParaRPr>
          </a:p>
        </p:txBody>
      </p:sp>
      <p:sp>
        <p:nvSpPr>
          <p:cNvPr id="10" name="Title 1"/>
          <p:cNvSpPr>
            <a:spLocks noGrp="1"/>
          </p:cNvSpPr>
          <p:nvPr>
            <p:ph type="title"/>
          </p:nvPr>
        </p:nvSpPr>
        <p:spPr>
          <a:xfrm>
            <a:off x="121482" y="132517"/>
            <a:ext cx="8924441" cy="513522"/>
          </a:xfrm>
          <a:prstGeom prst="rect">
            <a:avLst/>
          </a:prstGeom>
        </p:spPr>
        <p:txBody>
          <a:bodyPr>
            <a:normAutofit/>
          </a:bodyPr>
          <a:lstStyle>
            <a:lvl1pPr algn="l">
              <a:defRPr sz="2100">
                <a:solidFill>
                  <a:srgbClr val="FFFFFF"/>
                </a:solidFill>
                <a:latin typeface="Helvetica"/>
                <a:cs typeface="Helvetica"/>
              </a:defRPr>
            </a:lvl1pPr>
          </a:lstStyle>
          <a:p>
            <a:r>
              <a:rPr lang="en-CA"/>
              <a:t>Click to edit Master title style</a:t>
            </a:r>
            <a:endParaRPr lang="en-US"/>
          </a:p>
        </p:txBody>
      </p:sp>
    </p:spTree>
    <p:extLst>
      <p:ext uri="{BB962C8B-B14F-4D97-AF65-F5344CB8AC3E}">
        <p14:creationId xmlns:p14="http://schemas.microsoft.com/office/powerpoint/2010/main" val="2717226045"/>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69" y="1169"/>
          <a:ext cx="1167" cy="1167"/>
        </p:xfrm>
        <a:graphic>
          <a:graphicData uri="http://schemas.openxmlformats.org/presentationml/2006/ole">
            <mc:AlternateContent xmlns:mc="http://schemas.openxmlformats.org/markup-compatibility/2006">
              <mc:Choice xmlns:v="urn:schemas-microsoft-com:vml" Requires="v">
                <p:oleObj spid="_x0000_s11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69" y="1169"/>
                        <a:ext cx="1167" cy="1167"/>
                      </a:xfrm>
                      <a:prstGeom prst="rect">
                        <a:avLst/>
                      </a:prstGeom>
                    </p:spPr>
                  </p:pic>
                </p:oleObj>
              </mc:Fallback>
            </mc:AlternateContent>
          </a:graphicData>
        </a:graphic>
      </p:graphicFrame>
      <p:sp>
        <p:nvSpPr>
          <p:cNvPr id="3" name="Footer Placeholder 2"/>
          <p:cNvSpPr>
            <a:spLocks noGrp="1"/>
          </p:cNvSpPr>
          <p:nvPr>
            <p:ph type="ftr" sz="quarter" idx="10"/>
          </p:nvPr>
        </p:nvSpPr>
        <p:spPr>
          <a:xfrm>
            <a:off x="426037" y="4918990"/>
            <a:ext cx="2894705" cy="100862"/>
          </a:xfrm>
          <a:prstGeom prst="rect">
            <a:avLst/>
          </a:prstGeom>
        </p:spPr>
        <p:txBody>
          <a:bodyPr/>
          <a:lstStyle/>
          <a:p>
            <a:r>
              <a:rPr lang="en-US" dirty="0">
                <a:solidFill>
                  <a:srgbClr val="505050"/>
                </a:solidFill>
              </a:rPr>
              <a:t>For partner use only. Not for distribution to customers.</a:t>
            </a:r>
            <a:endParaRPr dirty="0">
              <a:solidFill>
                <a:srgbClr val="505050"/>
              </a:solidFill>
            </a:endParaRPr>
          </a:p>
        </p:txBody>
      </p:sp>
      <p:sp>
        <p:nvSpPr>
          <p:cNvPr id="4" name="Slide Number Placeholder 3"/>
          <p:cNvSpPr>
            <a:spLocks noGrp="1"/>
          </p:cNvSpPr>
          <p:nvPr>
            <p:ph type="sldNum" sz="quarter" idx="11"/>
          </p:nvPr>
        </p:nvSpPr>
        <p:spPr>
          <a:xfrm>
            <a:off x="8312603" y="4918990"/>
            <a:ext cx="416697" cy="100862"/>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3553387582"/>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Copy">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endParaRPr>
          </a:p>
        </p:txBody>
      </p:sp>
      <p:sp>
        <p:nvSpPr>
          <p:cNvPr id="12" name="Rectangle 11"/>
          <p:cNvSpPr/>
          <p:nvPr userDrawn="1"/>
        </p:nvSpPr>
        <p:spPr>
          <a:xfrm>
            <a:off x="0" y="1"/>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endParaRPr>
          </a:p>
        </p:txBody>
      </p:sp>
      <p:pic>
        <p:nvPicPr>
          <p:cNvPr id="9" name="Picture 8" descr="new_Softchoice_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28004" y="4638264"/>
            <a:ext cx="1017920" cy="438978"/>
          </a:xfrm>
          <a:prstGeom prst="rect">
            <a:avLst/>
          </a:prstGeom>
        </p:spPr>
      </p:pic>
      <p:sp>
        <p:nvSpPr>
          <p:cNvPr id="10" name="Title 1"/>
          <p:cNvSpPr>
            <a:spLocks noGrp="1"/>
          </p:cNvSpPr>
          <p:nvPr>
            <p:ph type="title"/>
          </p:nvPr>
        </p:nvSpPr>
        <p:spPr>
          <a:xfrm>
            <a:off x="121482" y="129575"/>
            <a:ext cx="8924441" cy="513522"/>
          </a:xfrm>
          <a:prstGeom prst="rect">
            <a:avLst/>
          </a:prstGeom>
        </p:spPr>
        <p:txBody>
          <a:bodyPr>
            <a:normAutofit/>
          </a:bodyPr>
          <a:lstStyle>
            <a:lvl1pPr algn="l">
              <a:defRPr sz="2100">
                <a:solidFill>
                  <a:srgbClr val="FFFFFF"/>
                </a:solidFill>
                <a:latin typeface="Helvetica"/>
                <a:cs typeface="Helvetica"/>
              </a:defRPr>
            </a:lvl1pPr>
          </a:lstStyle>
          <a:p>
            <a:r>
              <a:rPr lang="en-CA"/>
              <a:t>Click to edit Master title style</a:t>
            </a:r>
            <a:endParaRPr lang="en-US"/>
          </a:p>
        </p:txBody>
      </p:sp>
      <p:sp>
        <p:nvSpPr>
          <p:cNvPr id="13" name="Text Placeholder 12"/>
          <p:cNvSpPr>
            <a:spLocks noGrp="1"/>
          </p:cNvSpPr>
          <p:nvPr>
            <p:ph type="body" sz="quarter" idx="11"/>
          </p:nvPr>
        </p:nvSpPr>
        <p:spPr>
          <a:xfrm>
            <a:off x="331789" y="1002507"/>
            <a:ext cx="8491537" cy="3405448"/>
          </a:xfrm>
          <a:prstGeom prst="rect">
            <a:avLst/>
          </a:prstGeom>
        </p:spPr>
        <p:txBody>
          <a:bodyPr>
            <a:normAutofit/>
          </a:bodyPr>
          <a:lstStyle>
            <a:lvl1pPr>
              <a:defRPr sz="2100">
                <a:latin typeface="Helvetica"/>
                <a:cs typeface="Helvetica"/>
              </a:defRPr>
            </a:lvl1pPr>
            <a:lvl2pPr>
              <a:defRPr sz="1800">
                <a:latin typeface="Helvetica"/>
                <a:cs typeface="Helvetica"/>
              </a:defRPr>
            </a:lvl2pPr>
            <a:lvl3pPr>
              <a:defRPr sz="1500">
                <a:latin typeface="Helvetica"/>
                <a:cs typeface="Helvetica"/>
              </a:defRPr>
            </a:lvl3pPr>
            <a:lvl4pPr>
              <a:defRPr sz="1350">
                <a:latin typeface="Helvetica"/>
                <a:cs typeface="Helvetica"/>
              </a:defRPr>
            </a:lvl4pPr>
            <a:lvl5pPr>
              <a:defRPr sz="1350">
                <a:latin typeface="Helvetica"/>
                <a:cs typeface="Helvetica"/>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449628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logo only">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endParaRPr>
          </a:p>
        </p:txBody>
      </p:sp>
      <p:sp>
        <p:nvSpPr>
          <p:cNvPr id="8" name="Rectangle 7"/>
          <p:cNvSpPr/>
          <p:nvPr userDrawn="1"/>
        </p:nvSpPr>
        <p:spPr>
          <a:xfrm>
            <a:off x="0" y="1"/>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endParaRPr>
          </a:p>
        </p:txBody>
      </p:sp>
      <p:pic>
        <p:nvPicPr>
          <p:cNvPr id="9" name="Picture 8" descr="new_Softchoice_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28004" y="4638264"/>
            <a:ext cx="1017920" cy="438978"/>
          </a:xfrm>
          <a:prstGeom prst="rect">
            <a:avLst/>
          </a:prstGeom>
        </p:spPr>
      </p:pic>
      <p:sp>
        <p:nvSpPr>
          <p:cNvPr id="10" name="Title 1"/>
          <p:cNvSpPr>
            <a:spLocks noGrp="1"/>
          </p:cNvSpPr>
          <p:nvPr>
            <p:ph type="title"/>
          </p:nvPr>
        </p:nvSpPr>
        <p:spPr>
          <a:xfrm>
            <a:off x="121482" y="132517"/>
            <a:ext cx="8924441" cy="513522"/>
          </a:xfrm>
          <a:prstGeom prst="rect">
            <a:avLst/>
          </a:prstGeom>
        </p:spPr>
        <p:txBody>
          <a:bodyPr>
            <a:normAutofit/>
          </a:bodyPr>
          <a:lstStyle>
            <a:lvl1pPr algn="l">
              <a:defRPr sz="2100">
                <a:solidFill>
                  <a:srgbClr val="FFFFFF"/>
                </a:solidFill>
                <a:latin typeface="Helvetica"/>
                <a:cs typeface="Helvetica"/>
              </a:defRPr>
            </a:lvl1pPr>
          </a:lstStyle>
          <a:p>
            <a:r>
              <a:rPr lang="en-CA"/>
              <a:t>Click to edit Master title style</a:t>
            </a:r>
            <a:endParaRPr lang="en-US"/>
          </a:p>
        </p:txBody>
      </p:sp>
    </p:spTree>
    <p:extLst>
      <p:ext uri="{BB962C8B-B14F-4D97-AF65-F5344CB8AC3E}">
        <p14:creationId xmlns:p14="http://schemas.microsoft.com/office/powerpoint/2010/main" val="3409637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Just Title">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endParaRPr>
          </a:p>
        </p:txBody>
      </p:sp>
      <p:sp>
        <p:nvSpPr>
          <p:cNvPr id="8" name="Rectangle 7"/>
          <p:cNvSpPr/>
          <p:nvPr userDrawn="1"/>
        </p:nvSpPr>
        <p:spPr>
          <a:xfrm>
            <a:off x="0" y="1"/>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endParaRPr>
          </a:p>
        </p:txBody>
      </p:sp>
      <p:sp>
        <p:nvSpPr>
          <p:cNvPr id="10" name="Title 1"/>
          <p:cNvSpPr>
            <a:spLocks noGrp="1"/>
          </p:cNvSpPr>
          <p:nvPr>
            <p:ph type="title"/>
          </p:nvPr>
        </p:nvSpPr>
        <p:spPr>
          <a:xfrm>
            <a:off x="121482" y="132517"/>
            <a:ext cx="8924441" cy="513522"/>
          </a:xfrm>
          <a:prstGeom prst="rect">
            <a:avLst/>
          </a:prstGeom>
        </p:spPr>
        <p:txBody>
          <a:bodyPr>
            <a:normAutofit/>
          </a:bodyPr>
          <a:lstStyle>
            <a:lvl1pPr algn="l">
              <a:defRPr sz="2100">
                <a:solidFill>
                  <a:srgbClr val="FFFFFF"/>
                </a:solidFill>
                <a:latin typeface="Helvetica"/>
                <a:cs typeface="Helvetica"/>
              </a:defRPr>
            </a:lvl1pPr>
          </a:lstStyle>
          <a:p>
            <a:r>
              <a:rPr lang="en-CA"/>
              <a:t>Click to edit Master title style</a:t>
            </a:r>
            <a:endParaRPr lang="en-US"/>
          </a:p>
        </p:txBody>
      </p:sp>
    </p:spTree>
    <p:extLst>
      <p:ext uri="{BB962C8B-B14F-4D97-AF65-F5344CB8AC3E}">
        <p14:creationId xmlns:p14="http://schemas.microsoft.com/office/powerpoint/2010/main" val="2892689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bleed image with logo">
    <p:bg>
      <p:bgRef idx="1001">
        <a:schemeClr val="bg1"/>
      </p:bgRef>
    </p:bg>
    <p:spTree>
      <p:nvGrpSpPr>
        <p:cNvPr id="1" name=""/>
        <p:cNvGrpSpPr/>
        <p:nvPr/>
      </p:nvGrpSpPr>
      <p:grpSpPr>
        <a:xfrm>
          <a:off x="0" y="0"/>
          <a:ext cx="0" cy="0"/>
          <a:chOff x="0" y="0"/>
          <a:chExt cx="0" cy="0"/>
        </a:xfrm>
      </p:grpSpPr>
      <p:pic>
        <p:nvPicPr>
          <p:cNvPr id="6" name="Picture 5" descr="new_Softchoice_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28004" y="4638264"/>
            <a:ext cx="1017920" cy="438978"/>
          </a:xfrm>
          <a:prstGeom prst="rect">
            <a:avLst/>
          </a:prstGeom>
        </p:spPr>
      </p:pic>
    </p:spTree>
    <p:extLst>
      <p:ext uri="{BB962C8B-B14F-4D97-AF65-F5344CB8AC3E}">
        <p14:creationId xmlns:p14="http://schemas.microsoft.com/office/powerpoint/2010/main" val="2491522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unch2015 Logo">
    <p:spTree>
      <p:nvGrpSpPr>
        <p:cNvPr id="1" name=""/>
        <p:cNvGrpSpPr/>
        <p:nvPr/>
      </p:nvGrpSpPr>
      <p:grpSpPr>
        <a:xfrm>
          <a:off x="0" y="0"/>
          <a:ext cx="0" cy="0"/>
          <a:chOff x="0" y="0"/>
          <a:chExt cx="0" cy="0"/>
        </a:xfrm>
      </p:grpSpPr>
      <p:pic>
        <p:nvPicPr>
          <p:cNvPr id="3" name="Picture 2" descr="Transformation_at_Work_CMY.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5015" y="2205391"/>
            <a:ext cx="7573972" cy="724521"/>
          </a:xfrm>
          <a:prstGeom prst="rect">
            <a:avLst/>
          </a:prstGeom>
        </p:spPr>
      </p:pic>
    </p:spTree>
    <p:extLst>
      <p:ext uri="{BB962C8B-B14F-4D97-AF65-F5344CB8AC3E}">
        <p14:creationId xmlns:p14="http://schemas.microsoft.com/office/powerpoint/2010/main" val="3289017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bokeh2.png"/>
          <p:cNvPicPr>
            <a:picLocks noChangeAspect="1"/>
          </p:cNvPicPr>
          <p:nvPr userDrawn="1"/>
        </p:nvPicPr>
        <p:blipFill rotWithShape="1">
          <a:blip r:embed="rId2">
            <a:extLst>
              <a:ext uri="{28A0092B-C50C-407E-A947-70E740481C1C}">
                <a14:useLocalDpi xmlns:a14="http://schemas.microsoft.com/office/drawing/2010/main" val="0"/>
              </a:ext>
            </a:extLst>
          </a:blip>
          <a:srcRect l="8333" r="8334"/>
          <a:stretch/>
        </p:blipFill>
        <p:spPr>
          <a:xfrm>
            <a:off x="0" y="0"/>
            <a:ext cx="9144000" cy="5143500"/>
          </a:xfrm>
          <a:prstGeom prst="rect">
            <a:avLst/>
          </a:prstGeom>
        </p:spPr>
      </p:pic>
      <p:pic>
        <p:nvPicPr>
          <p:cNvPr id="4" name="Picture 3" descr="TransformationAtWork_Logo_WHITE.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84065" y="4449859"/>
            <a:ext cx="4935425" cy="609264"/>
          </a:xfrm>
          <a:prstGeom prst="rect">
            <a:avLst/>
          </a:prstGeom>
        </p:spPr>
      </p:pic>
      <p:sp>
        <p:nvSpPr>
          <p:cNvPr id="5" name="Title 4"/>
          <p:cNvSpPr>
            <a:spLocks noGrp="1"/>
          </p:cNvSpPr>
          <p:nvPr>
            <p:ph type="title"/>
          </p:nvPr>
        </p:nvSpPr>
        <p:spPr>
          <a:xfrm>
            <a:off x="311285" y="3885058"/>
            <a:ext cx="8661897" cy="693035"/>
          </a:xfrm>
          <a:prstGeom prst="rect">
            <a:avLst/>
          </a:prstGeom>
        </p:spPr>
        <p:txBody>
          <a:bodyPr>
            <a:normAutofit/>
          </a:bodyPr>
          <a:lstStyle>
            <a:lvl1pPr algn="r">
              <a:defRPr sz="2625">
                <a:solidFill>
                  <a:srgbClr val="FFFFFF"/>
                </a:solidFill>
              </a:defRPr>
            </a:lvl1pPr>
          </a:lstStyle>
          <a:p>
            <a:r>
              <a:rPr lang="en-CA"/>
              <a:t>Click to edit Master title style</a:t>
            </a:r>
            <a:endParaRPr lang="en-US"/>
          </a:p>
        </p:txBody>
      </p:sp>
    </p:spTree>
    <p:extLst>
      <p:ext uri="{BB962C8B-B14F-4D97-AF65-F5344CB8AC3E}">
        <p14:creationId xmlns:p14="http://schemas.microsoft.com/office/powerpoint/2010/main" val="4223832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logo only">
    <p:bg>
      <p:bgRef idx="1001">
        <a:schemeClr val="bg1"/>
      </p:bgRef>
    </p:bg>
    <p:spTree>
      <p:nvGrpSpPr>
        <p:cNvPr id="1" name=""/>
        <p:cNvGrpSpPr/>
        <p:nvPr/>
      </p:nvGrpSpPr>
      <p:grpSpPr>
        <a:xfrm>
          <a:off x="0" y="0"/>
          <a:ext cx="0" cy="0"/>
          <a:chOff x="0" y="0"/>
          <a:chExt cx="0" cy="0"/>
        </a:xfrm>
      </p:grpSpPr>
      <p:sp>
        <p:nvSpPr>
          <p:cNvPr id="7" name="Rectangle 6"/>
          <p:cNvSpPr/>
          <p:nvPr/>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p:nvSpPr>
        <p:spPr>
          <a:xfrm>
            <a:off x="0" y="0"/>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121482" y="122892"/>
            <a:ext cx="8493881" cy="513522"/>
          </a:xfrm>
        </p:spPr>
        <p:txBody>
          <a:bodyPr>
            <a:normAutofit/>
          </a:bodyPr>
          <a:lstStyle>
            <a:lvl1pPr algn="l">
              <a:defRPr sz="2800">
                <a:solidFill>
                  <a:srgbClr val="FFFFFF"/>
                </a:solidFill>
                <a:latin typeface="Helvetica"/>
                <a:cs typeface="Helvetica"/>
              </a:defRPr>
            </a:lvl1pPr>
          </a:lstStyle>
          <a:p>
            <a:r>
              <a:rPr lang="en-US"/>
              <a:t>Click to edit Master title style</a:t>
            </a:r>
          </a:p>
        </p:txBody>
      </p:sp>
      <p:pic>
        <p:nvPicPr>
          <p:cNvPr id="6" name="Picture 5" descr="new_Softchoice_logo.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28003" y="4457431"/>
            <a:ext cx="1016000" cy="584200"/>
          </a:xfrm>
          <a:prstGeom prst="rect">
            <a:avLst/>
          </a:prstGeom>
        </p:spPr>
      </p:pic>
      <p:sp>
        <p:nvSpPr>
          <p:cNvPr id="9" name="Rectangle 8"/>
          <p:cNvSpPr/>
          <p:nvPr/>
        </p:nvSpPr>
        <p:spPr>
          <a:xfrm>
            <a:off x="8694114" y="260067"/>
            <a:ext cx="258422" cy="258422"/>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lvl="0" algn="ctr"/>
            <a:fld id="{9A1CA675-59C5-1A43-B32F-773BB9D73629}" type="slidenum">
              <a:rPr lang="en-US" sz="700" smtClean="0">
                <a:solidFill>
                  <a:prstClr val="white"/>
                </a:solidFill>
                <a:latin typeface="Helvetica" charset="0"/>
                <a:ea typeface="Helvetica" charset="0"/>
                <a:cs typeface="Helvetica" charset="0"/>
              </a:rPr>
              <a:t>‹#›</a:t>
            </a:fld>
            <a:endParaRPr lang="en-US" sz="700" dirty="0">
              <a:solidFill>
                <a:prstClr val="white"/>
              </a:solidFill>
              <a:latin typeface="Helvetica" charset="0"/>
              <a:ea typeface="Helvetica" charset="0"/>
              <a:cs typeface="Helvetica" charset="0"/>
            </a:endParaRPr>
          </a:p>
        </p:txBody>
      </p:sp>
      <p:sp>
        <p:nvSpPr>
          <p:cNvPr id="11" name="Rectangle 10"/>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0"/>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3" name="Picture 12" descr="new_Softchoice_logo.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28003" y="4457431"/>
            <a:ext cx="1016000" cy="584200"/>
          </a:xfrm>
          <a:prstGeom prst="rect">
            <a:avLst/>
          </a:prstGeom>
        </p:spPr>
      </p:pic>
      <p:sp>
        <p:nvSpPr>
          <p:cNvPr id="14" name="Rectangle 13"/>
          <p:cNvSpPr/>
          <p:nvPr userDrawn="1"/>
        </p:nvSpPr>
        <p:spPr>
          <a:xfrm>
            <a:off x="8694114" y="260067"/>
            <a:ext cx="258422" cy="258422"/>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lvl="0" algn="ctr"/>
            <a:fld id="{9A1CA675-59C5-1A43-B32F-773BB9D73629}" type="slidenum">
              <a:rPr lang="en-US" sz="700" smtClean="0">
                <a:solidFill>
                  <a:prstClr val="white"/>
                </a:solidFill>
                <a:latin typeface="Helvetica" charset="0"/>
                <a:ea typeface="Helvetica" charset="0"/>
                <a:cs typeface="Helvetica" charset="0"/>
              </a:rPr>
              <a:t>‹#›</a:t>
            </a:fld>
            <a:endParaRPr lang="en-US" sz="700" dirty="0">
              <a:solidFill>
                <a:prstClr val="white"/>
              </a:solidFill>
              <a:latin typeface="Helvetica" charset="0"/>
              <a:ea typeface="Helvetica" charset="0"/>
              <a:cs typeface="Helvetica" charset="0"/>
            </a:endParaRPr>
          </a:p>
        </p:txBody>
      </p:sp>
    </p:spTree>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aunch2015 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8333" r="8334"/>
          <a:stretch/>
        </p:blipFill>
        <p:spPr>
          <a:xfrm>
            <a:off x="0" y="0"/>
            <a:ext cx="9144000" cy="5143500"/>
          </a:xfrm>
          <a:prstGeom prst="rect">
            <a:avLst/>
          </a:prstGeom>
        </p:spPr>
      </p:pic>
      <p:pic>
        <p:nvPicPr>
          <p:cNvPr id="4" name="Picture 3" descr="TransformationAtWork_Logo_WHITE.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926476"/>
            <a:ext cx="9144000" cy="1128801"/>
          </a:xfrm>
          <a:prstGeom prst="rect">
            <a:avLst/>
          </a:prstGeom>
        </p:spPr>
      </p:pic>
    </p:spTree>
    <p:extLst>
      <p:ext uri="{BB962C8B-B14F-4D97-AF65-F5344CB8AC3E}">
        <p14:creationId xmlns:p14="http://schemas.microsoft.com/office/powerpoint/2010/main" val="1691180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mp; Copy">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endParaRPr>
          </a:p>
        </p:txBody>
      </p:sp>
      <p:sp>
        <p:nvSpPr>
          <p:cNvPr id="12" name="Rectangle 11"/>
          <p:cNvSpPr/>
          <p:nvPr userDrawn="1"/>
        </p:nvSpPr>
        <p:spPr>
          <a:xfrm>
            <a:off x="0" y="1"/>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endParaRPr>
          </a:p>
        </p:txBody>
      </p:sp>
      <p:sp>
        <p:nvSpPr>
          <p:cNvPr id="10" name="Title 1"/>
          <p:cNvSpPr>
            <a:spLocks noGrp="1"/>
          </p:cNvSpPr>
          <p:nvPr>
            <p:ph type="title"/>
          </p:nvPr>
        </p:nvSpPr>
        <p:spPr>
          <a:xfrm>
            <a:off x="121482" y="129575"/>
            <a:ext cx="5506554" cy="513522"/>
          </a:xfrm>
          <a:prstGeom prst="rect">
            <a:avLst/>
          </a:prstGeom>
        </p:spPr>
        <p:txBody>
          <a:bodyPr>
            <a:normAutofit/>
          </a:bodyPr>
          <a:lstStyle>
            <a:lvl1pPr algn="l">
              <a:defRPr sz="2100">
                <a:solidFill>
                  <a:srgbClr val="FFFFFF"/>
                </a:solidFill>
                <a:latin typeface="Helvetica"/>
                <a:cs typeface="Helvetica"/>
              </a:defRPr>
            </a:lvl1pPr>
          </a:lstStyle>
          <a:p>
            <a:r>
              <a:rPr lang="en-CA"/>
              <a:t>Click to edit Master title style</a:t>
            </a:r>
            <a:endParaRPr lang="en-US"/>
          </a:p>
        </p:txBody>
      </p:sp>
      <p:sp>
        <p:nvSpPr>
          <p:cNvPr id="13" name="Text Placeholder 12"/>
          <p:cNvSpPr>
            <a:spLocks noGrp="1"/>
          </p:cNvSpPr>
          <p:nvPr>
            <p:ph type="body" sz="quarter" idx="11"/>
          </p:nvPr>
        </p:nvSpPr>
        <p:spPr>
          <a:xfrm>
            <a:off x="331789" y="1002507"/>
            <a:ext cx="8491537" cy="3405448"/>
          </a:xfrm>
          <a:prstGeom prst="rect">
            <a:avLst/>
          </a:prstGeom>
        </p:spPr>
        <p:txBody>
          <a:bodyPr>
            <a:normAutofit/>
          </a:bodyPr>
          <a:lstStyle>
            <a:lvl1pPr>
              <a:defRPr sz="2100">
                <a:latin typeface="Helvetica"/>
                <a:cs typeface="Helvetica"/>
              </a:defRPr>
            </a:lvl1pPr>
            <a:lvl2pPr>
              <a:defRPr sz="1800">
                <a:latin typeface="Helvetica"/>
                <a:cs typeface="Helvetica"/>
              </a:defRPr>
            </a:lvl2pPr>
            <a:lvl3pPr>
              <a:defRPr sz="1500">
                <a:latin typeface="Helvetica"/>
                <a:cs typeface="Helvetica"/>
              </a:defRPr>
            </a:lvl3pPr>
            <a:lvl4pPr>
              <a:defRPr sz="1350">
                <a:latin typeface="Helvetica"/>
                <a:cs typeface="Helvetica"/>
              </a:defRPr>
            </a:lvl4pPr>
            <a:lvl5pPr>
              <a:defRPr sz="1350">
                <a:latin typeface="Helvetica"/>
                <a:cs typeface="Helvetica"/>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pic>
        <p:nvPicPr>
          <p:cNvPr id="7" name="Picture 6" descr="Transformation_at_Work_CMY.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93016" y="4650084"/>
            <a:ext cx="3951521" cy="378000"/>
          </a:xfrm>
          <a:prstGeom prst="rect">
            <a:avLst/>
          </a:prstGeom>
        </p:spPr>
      </p:pic>
    </p:spTree>
    <p:extLst>
      <p:ext uri="{BB962C8B-B14F-4D97-AF65-F5344CB8AC3E}">
        <p14:creationId xmlns:p14="http://schemas.microsoft.com/office/powerpoint/2010/main" val="1893451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amp; Copy">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293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endParaRPr>
          </a:p>
        </p:txBody>
      </p:sp>
      <p:pic>
        <p:nvPicPr>
          <p:cNvPr id="9" name="Picture 8" descr="new_Softchoice_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28004" y="4638264"/>
            <a:ext cx="1017920" cy="438978"/>
          </a:xfrm>
          <a:prstGeom prst="rect">
            <a:avLst/>
          </a:prstGeom>
        </p:spPr>
      </p:pic>
      <p:sp>
        <p:nvSpPr>
          <p:cNvPr id="10" name="Title 1"/>
          <p:cNvSpPr>
            <a:spLocks noGrp="1"/>
          </p:cNvSpPr>
          <p:nvPr>
            <p:ph type="title"/>
          </p:nvPr>
        </p:nvSpPr>
        <p:spPr>
          <a:xfrm>
            <a:off x="121482" y="71599"/>
            <a:ext cx="8924441" cy="513522"/>
          </a:xfrm>
          <a:prstGeom prst="rect">
            <a:avLst/>
          </a:prstGeom>
        </p:spPr>
        <p:txBody>
          <a:bodyPr>
            <a:normAutofit/>
          </a:bodyPr>
          <a:lstStyle>
            <a:lvl1pPr algn="l">
              <a:defRPr sz="2100">
                <a:solidFill>
                  <a:srgbClr val="FFFFFF"/>
                </a:solidFill>
                <a:latin typeface="Helvetica"/>
                <a:cs typeface="Helvetica"/>
              </a:defRPr>
            </a:lvl1pPr>
          </a:lstStyle>
          <a:p>
            <a:r>
              <a:rPr lang="en-CA"/>
              <a:t>Click to edit Master title style</a:t>
            </a:r>
            <a:endParaRPr lang="en-US"/>
          </a:p>
        </p:txBody>
      </p:sp>
      <p:sp>
        <p:nvSpPr>
          <p:cNvPr id="13" name="Text Placeholder 12"/>
          <p:cNvSpPr>
            <a:spLocks noGrp="1"/>
          </p:cNvSpPr>
          <p:nvPr>
            <p:ph type="body" sz="quarter" idx="11"/>
          </p:nvPr>
        </p:nvSpPr>
        <p:spPr>
          <a:xfrm>
            <a:off x="331789" y="1002507"/>
            <a:ext cx="8491537" cy="3405448"/>
          </a:xfrm>
          <a:prstGeom prst="rect">
            <a:avLst/>
          </a:prstGeom>
        </p:spPr>
        <p:txBody>
          <a:bodyPr>
            <a:normAutofit/>
          </a:bodyPr>
          <a:lstStyle>
            <a:lvl1pPr>
              <a:defRPr sz="2100">
                <a:latin typeface="Helvetica"/>
                <a:cs typeface="Helvetica"/>
              </a:defRPr>
            </a:lvl1pPr>
            <a:lvl2pPr>
              <a:defRPr sz="1800">
                <a:latin typeface="Helvetica"/>
                <a:cs typeface="Helvetica"/>
              </a:defRPr>
            </a:lvl2pPr>
            <a:lvl3pPr>
              <a:defRPr sz="1500">
                <a:latin typeface="Helvetica"/>
                <a:cs typeface="Helvetica"/>
              </a:defRPr>
            </a:lvl3pPr>
            <a:lvl4pPr>
              <a:defRPr sz="1350">
                <a:latin typeface="Helvetica"/>
                <a:cs typeface="Helvetica"/>
              </a:defRPr>
            </a:lvl4pPr>
            <a:lvl5pPr>
              <a:defRPr sz="1350">
                <a:latin typeface="Helvetica"/>
                <a:cs typeface="Helvetica"/>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11" name="Rectangle 10"/>
          <p:cNvSpPr/>
          <p:nvPr userDrawn="1"/>
        </p:nvSpPr>
        <p:spPr>
          <a:xfrm>
            <a:off x="0" y="651534"/>
            <a:ext cx="9144000" cy="34289"/>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dirty="0">
              <a:solidFill>
                <a:prstClr val="white"/>
              </a:solidFill>
            </a:endParaRPr>
          </a:p>
        </p:txBody>
      </p:sp>
    </p:spTree>
    <p:extLst>
      <p:ext uri="{BB962C8B-B14F-4D97-AF65-F5344CB8AC3E}">
        <p14:creationId xmlns:p14="http://schemas.microsoft.com/office/powerpoint/2010/main" val="4234469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otally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94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mp; Copy (No Logo)">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2" name="Rectangle 11"/>
          <p:cNvSpPr/>
          <p:nvPr userDrawn="1"/>
        </p:nvSpPr>
        <p:spPr>
          <a:xfrm>
            <a:off x="0" y="0"/>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0" name="Title 1"/>
          <p:cNvSpPr>
            <a:spLocks noGrp="1"/>
          </p:cNvSpPr>
          <p:nvPr>
            <p:ph type="title"/>
          </p:nvPr>
        </p:nvSpPr>
        <p:spPr>
          <a:xfrm>
            <a:off x="121483" y="129321"/>
            <a:ext cx="8924441" cy="513522"/>
          </a:xfrm>
        </p:spPr>
        <p:txBody>
          <a:bodyPr>
            <a:normAutofit/>
          </a:bodyPr>
          <a:lstStyle>
            <a:lvl1pPr algn="l">
              <a:defRPr sz="2800">
                <a:solidFill>
                  <a:srgbClr val="FFFFFF"/>
                </a:solidFill>
                <a:latin typeface="Helvetica"/>
                <a:cs typeface="Helvetica"/>
              </a:defRPr>
            </a:lvl1pPr>
          </a:lstStyle>
          <a:p>
            <a:r>
              <a:rPr lang="en-US"/>
              <a:t>Click to edit Master title style</a:t>
            </a:r>
          </a:p>
        </p:txBody>
      </p:sp>
      <p:sp>
        <p:nvSpPr>
          <p:cNvPr id="13" name="Text Placeholder 12"/>
          <p:cNvSpPr>
            <a:spLocks noGrp="1"/>
          </p:cNvSpPr>
          <p:nvPr>
            <p:ph type="body" sz="quarter" idx="11"/>
          </p:nvPr>
        </p:nvSpPr>
        <p:spPr>
          <a:xfrm>
            <a:off x="331790" y="1002508"/>
            <a:ext cx="8491537" cy="3786061"/>
          </a:xfrm>
        </p:spPr>
        <p:txBody>
          <a:bodyPr>
            <a:normAutofit/>
          </a:bodyPr>
          <a:lstStyle>
            <a:lvl1pPr>
              <a:defRPr sz="2800">
                <a:latin typeface="Helvetica"/>
                <a:cs typeface="Helvetica"/>
              </a:defRPr>
            </a:lvl1pPr>
            <a:lvl2pPr>
              <a:defRPr sz="2400">
                <a:latin typeface="Helvetica"/>
                <a:cs typeface="Helvetica"/>
              </a:defRPr>
            </a:lvl2pPr>
            <a:lvl3pPr>
              <a:defRPr sz="2000">
                <a:latin typeface="Helvetica"/>
                <a:cs typeface="Helvetica"/>
              </a:defRPr>
            </a:lvl3pPr>
            <a:lvl4pPr>
              <a:defRPr sz="1800">
                <a:latin typeface="Helvetica"/>
                <a:cs typeface="Helvetica"/>
              </a:defRPr>
            </a:lvl4pPr>
            <a:lvl5pPr>
              <a:defRPr sz="1800">
                <a:latin typeface="Helvetica"/>
                <a:cs typeface="Helvetica"/>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7505562"/>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1590262" y="4177654"/>
            <a:ext cx="7310781" cy="386264"/>
          </a:xfrm>
        </p:spPr>
        <p:txBody>
          <a:bodyPr/>
          <a:lstStyle>
            <a:lvl1pPr algn="r">
              <a:defRPr sz="3600">
                <a:solidFill>
                  <a:schemeClr val="bg1"/>
                </a:solidFill>
                <a:latin typeface="Helvetica"/>
                <a:cs typeface="Helvetica"/>
              </a:defRPr>
            </a:lvl1pPr>
          </a:lstStyle>
          <a:p>
            <a:r>
              <a:rPr lang="en-US"/>
              <a:t>Click to edit Master title style</a:t>
            </a:r>
            <a:endParaRPr lang="en-US" dirty="0"/>
          </a:p>
        </p:txBody>
      </p:sp>
      <p:sp>
        <p:nvSpPr>
          <p:cNvPr id="3" name="Subtitle 2"/>
          <p:cNvSpPr>
            <a:spLocks noGrp="1"/>
          </p:cNvSpPr>
          <p:nvPr>
            <p:ph type="subTitle" idx="1"/>
          </p:nvPr>
        </p:nvSpPr>
        <p:spPr>
          <a:xfrm>
            <a:off x="2838174" y="4572000"/>
            <a:ext cx="6062868" cy="460513"/>
          </a:xfrm>
        </p:spPr>
        <p:txBody>
          <a:bodyPr>
            <a:normAutofit/>
          </a:bodyPr>
          <a:lstStyle>
            <a:lvl1pPr marL="0" indent="0" algn="r">
              <a:buNone/>
              <a:defRPr sz="2400">
                <a:solidFill>
                  <a:schemeClr val="bg1"/>
                </a:solidFill>
                <a:latin typeface="Helvetica"/>
                <a:cs typeface="Helvetic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descr="SoftchoiceLogo2010_tagline.eps"/>
          <p:cNvPicPr>
            <a:picLocks noChangeAspect="1"/>
          </p:cNvPicPr>
          <p:nvPr userDrawn="1"/>
        </p:nvPicPr>
        <p:blipFill rotWithShape="1">
          <a:blip r:embed="rId3">
            <a:duotone>
              <a:schemeClr val="bg2">
                <a:shade val="45000"/>
                <a:satMod val="135000"/>
              </a:schemeClr>
              <a:prstClr val="white"/>
            </a:duotone>
            <a:lum bright="100000" contrast="100000"/>
            <a:extLst>
              <a:ext uri="{28A0092B-C50C-407E-A947-70E740481C1C}">
                <a14:useLocalDpi xmlns:a14="http://schemas.microsoft.com/office/drawing/2010/main" val="0"/>
              </a:ext>
            </a:extLst>
          </a:blip>
          <a:srcRect b="16679"/>
          <a:stretch/>
        </p:blipFill>
        <p:spPr>
          <a:xfrm>
            <a:off x="7001045" y="221143"/>
            <a:ext cx="1805940" cy="6857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26871030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Sub-section - option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1590262" y="4177654"/>
            <a:ext cx="7310781" cy="386264"/>
          </a:xfrm>
        </p:spPr>
        <p:txBody>
          <a:bodyPr/>
          <a:lstStyle>
            <a:lvl1pPr algn="r">
              <a:defRPr sz="3600">
                <a:solidFill>
                  <a:schemeClr val="bg1"/>
                </a:solidFill>
                <a:latin typeface="Helvetica"/>
                <a:cs typeface="Helvetica"/>
              </a:defRPr>
            </a:lvl1pPr>
          </a:lstStyle>
          <a:p>
            <a:r>
              <a:rPr lang="en-US"/>
              <a:t>Click to edit Master title style</a:t>
            </a:r>
            <a:endParaRPr lang="en-US" dirty="0"/>
          </a:p>
        </p:txBody>
      </p:sp>
      <p:sp>
        <p:nvSpPr>
          <p:cNvPr id="3" name="Subtitle 2"/>
          <p:cNvSpPr>
            <a:spLocks noGrp="1"/>
          </p:cNvSpPr>
          <p:nvPr>
            <p:ph type="subTitle" idx="1"/>
          </p:nvPr>
        </p:nvSpPr>
        <p:spPr>
          <a:xfrm>
            <a:off x="2838174" y="4572000"/>
            <a:ext cx="6062868" cy="460513"/>
          </a:xfrm>
        </p:spPr>
        <p:txBody>
          <a:bodyPr>
            <a:normAutofit/>
          </a:bodyPr>
          <a:lstStyle>
            <a:lvl1pPr marL="0" indent="0" algn="r">
              <a:buNone/>
              <a:defRPr sz="2400">
                <a:solidFill>
                  <a:schemeClr val="bg1"/>
                </a:solidFill>
                <a:latin typeface="Helvetica"/>
                <a:cs typeface="Helvetic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7" name="Picture 6" descr="SoftchoiceLogo2010_tagline.eps"/>
          <p:cNvPicPr>
            <a:picLocks noChangeAspect="1"/>
          </p:cNvPicPr>
          <p:nvPr userDrawn="1"/>
        </p:nvPicPr>
        <p:blipFill rotWithShape="1">
          <a:blip r:embed="rId3">
            <a:duotone>
              <a:schemeClr val="bg2">
                <a:shade val="45000"/>
                <a:satMod val="135000"/>
              </a:schemeClr>
              <a:prstClr val="white"/>
            </a:duotone>
            <a:lum bright="100000" contrast="100000"/>
            <a:extLst>
              <a:ext uri="{28A0092B-C50C-407E-A947-70E740481C1C}">
                <a14:useLocalDpi xmlns:a14="http://schemas.microsoft.com/office/drawing/2010/main" val="0"/>
              </a:ext>
            </a:extLst>
          </a:blip>
          <a:srcRect b="16679"/>
          <a:stretch/>
        </p:blipFill>
        <p:spPr>
          <a:xfrm>
            <a:off x="7001045" y="221143"/>
            <a:ext cx="1805940" cy="6857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05826685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Sub-section - option #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9144000" cy="5143500"/>
          </a:xfrm>
          <a:prstGeom prst="rect">
            <a:avLst/>
          </a:prstGeom>
        </p:spPr>
      </p:pic>
      <p:sp>
        <p:nvSpPr>
          <p:cNvPr id="2" name="Title 1"/>
          <p:cNvSpPr>
            <a:spLocks noGrp="1"/>
          </p:cNvSpPr>
          <p:nvPr>
            <p:ph type="ctrTitle"/>
          </p:nvPr>
        </p:nvSpPr>
        <p:spPr>
          <a:xfrm>
            <a:off x="0" y="4533788"/>
            <a:ext cx="9144000" cy="386264"/>
          </a:xfrm>
          <a:solidFill>
            <a:srgbClr val="FEFFFF">
              <a:alpha val="50196"/>
            </a:srgbClr>
          </a:solidFill>
        </p:spPr>
        <p:txBody>
          <a:bodyPr rIns="216000">
            <a:noAutofit/>
          </a:bodyPr>
          <a:lstStyle>
            <a:lvl1pPr algn="r">
              <a:defRPr sz="2400">
                <a:solidFill>
                  <a:sysClr val="windowText" lastClr="000000"/>
                </a:solidFill>
                <a:latin typeface="Helvetica"/>
                <a:cs typeface="Helvetica"/>
              </a:defRPr>
            </a:lvl1pPr>
          </a:lstStyle>
          <a:p>
            <a:r>
              <a:rPr lang="en-US"/>
              <a:t>Click to edit Master title style</a:t>
            </a:r>
            <a:endParaRPr lang="en-US" dirty="0"/>
          </a:p>
        </p:txBody>
      </p:sp>
      <p:pic>
        <p:nvPicPr>
          <p:cNvPr id="7" name="Picture 6" descr="SoftchoiceLogo2010_tagline.eps"/>
          <p:cNvPicPr>
            <a:picLocks noChangeAspect="1"/>
          </p:cNvPicPr>
          <p:nvPr userDrawn="1"/>
        </p:nvPicPr>
        <p:blipFill rotWithShape="1">
          <a:blip r:embed="rId3">
            <a:duotone>
              <a:schemeClr val="bg2">
                <a:shade val="45000"/>
                <a:satMod val="135000"/>
              </a:schemeClr>
              <a:prstClr val="white"/>
            </a:duotone>
            <a:lum bright="100000" contrast="100000"/>
            <a:extLst>
              <a:ext uri="{28A0092B-C50C-407E-A947-70E740481C1C}">
                <a14:useLocalDpi xmlns:a14="http://schemas.microsoft.com/office/drawing/2010/main" val="0"/>
              </a:ext>
            </a:extLst>
          </a:blip>
          <a:srcRect b="16679"/>
          <a:stretch/>
        </p:blipFill>
        <p:spPr>
          <a:xfrm>
            <a:off x="7001045" y="221143"/>
            <a:ext cx="1805940" cy="6857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3676034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Sub-section - option #1">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7114" b="19504"/>
          <a:stretch/>
        </p:blipFill>
        <p:spPr>
          <a:xfrm>
            <a:off x="0" y="0"/>
            <a:ext cx="9144000" cy="5032513"/>
          </a:xfrm>
          <a:prstGeom prst="rect">
            <a:avLst/>
          </a:prstGeom>
        </p:spPr>
      </p:pic>
      <p:sp>
        <p:nvSpPr>
          <p:cNvPr id="2" name="Title 1"/>
          <p:cNvSpPr>
            <a:spLocks noGrp="1"/>
          </p:cNvSpPr>
          <p:nvPr>
            <p:ph type="ctrTitle"/>
          </p:nvPr>
        </p:nvSpPr>
        <p:spPr>
          <a:xfrm>
            <a:off x="1590262" y="4177654"/>
            <a:ext cx="7310781" cy="386264"/>
          </a:xfrm>
        </p:spPr>
        <p:txBody>
          <a:bodyPr/>
          <a:lstStyle>
            <a:lvl1pPr algn="r">
              <a:defRPr sz="3600">
                <a:solidFill>
                  <a:schemeClr val="tx1"/>
                </a:solidFill>
                <a:latin typeface="Helvetica"/>
                <a:cs typeface="Helvetica"/>
              </a:defRPr>
            </a:lvl1pPr>
          </a:lstStyle>
          <a:p>
            <a:r>
              <a:rPr lang="en-US"/>
              <a:t>Click to edit Master title style</a:t>
            </a:r>
            <a:endParaRPr lang="en-US" dirty="0"/>
          </a:p>
        </p:txBody>
      </p:sp>
      <p:sp>
        <p:nvSpPr>
          <p:cNvPr id="3" name="Subtitle 2"/>
          <p:cNvSpPr>
            <a:spLocks noGrp="1"/>
          </p:cNvSpPr>
          <p:nvPr>
            <p:ph type="subTitle" idx="1"/>
          </p:nvPr>
        </p:nvSpPr>
        <p:spPr>
          <a:xfrm>
            <a:off x="2838174" y="4572000"/>
            <a:ext cx="6062868" cy="460513"/>
          </a:xfrm>
        </p:spPr>
        <p:txBody>
          <a:bodyPr>
            <a:normAutofit/>
          </a:bodyPr>
          <a:lstStyle>
            <a:lvl1pPr marL="0" indent="0" algn="r">
              <a:buNone/>
              <a:defRPr sz="2400">
                <a:solidFill>
                  <a:schemeClr val="tx1"/>
                </a:solidFill>
                <a:latin typeface="Helvetica"/>
                <a:cs typeface="Helvetic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7" name="Picture 6" descr="SoftchoiceLogo2010_tagline.eps"/>
          <p:cNvPicPr>
            <a:picLocks noChangeAspect="1"/>
          </p:cNvPicPr>
          <p:nvPr userDrawn="1"/>
        </p:nvPicPr>
        <p:blipFill rotWithShape="1">
          <a:blip r:embed="rId3">
            <a:duotone>
              <a:schemeClr val="bg2">
                <a:shade val="45000"/>
                <a:satMod val="135000"/>
              </a:schemeClr>
              <a:prstClr val="white"/>
            </a:duotone>
            <a:lum bright="100000" contrast="100000"/>
            <a:extLst>
              <a:ext uri="{28A0092B-C50C-407E-A947-70E740481C1C}">
                <a14:useLocalDpi xmlns:a14="http://schemas.microsoft.com/office/drawing/2010/main" val="0"/>
              </a:ext>
            </a:extLst>
          </a:blip>
          <a:srcRect b="16679"/>
          <a:stretch/>
        </p:blipFill>
        <p:spPr>
          <a:xfrm>
            <a:off x="7001045" y="221143"/>
            <a:ext cx="1805940" cy="6857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9658978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Copy">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0"/>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new_Softchoice_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28003" y="4457431"/>
            <a:ext cx="1016000" cy="584200"/>
          </a:xfrm>
          <a:prstGeom prst="rect">
            <a:avLst/>
          </a:prstGeom>
        </p:spPr>
      </p:pic>
      <p:sp>
        <p:nvSpPr>
          <p:cNvPr id="10" name="Title 1"/>
          <p:cNvSpPr>
            <a:spLocks noGrp="1"/>
          </p:cNvSpPr>
          <p:nvPr>
            <p:ph type="title"/>
          </p:nvPr>
        </p:nvSpPr>
        <p:spPr>
          <a:xfrm>
            <a:off x="121482" y="129321"/>
            <a:ext cx="8493881" cy="513522"/>
          </a:xfrm>
        </p:spPr>
        <p:txBody>
          <a:bodyPr>
            <a:normAutofit/>
          </a:bodyPr>
          <a:lstStyle>
            <a:lvl1pPr algn="l">
              <a:defRPr sz="2800">
                <a:solidFill>
                  <a:srgbClr val="FFFFFF"/>
                </a:solidFill>
                <a:latin typeface="Helvetica"/>
                <a:cs typeface="Helvetica"/>
              </a:defRPr>
            </a:lvl1pPr>
          </a:lstStyle>
          <a:p>
            <a:r>
              <a:rPr lang="en-US"/>
              <a:t>Click to edit Master title style</a:t>
            </a:r>
            <a:endParaRPr lang="en-US" dirty="0"/>
          </a:p>
        </p:txBody>
      </p:sp>
      <p:sp>
        <p:nvSpPr>
          <p:cNvPr id="13" name="Text Placeholder 12"/>
          <p:cNvSpPr>
            <a:spLocks noGrp="1"/>
          </p:cNvSpPr>
          <p:nvPr>
            <p:ph type="body" sz="quarter" idx="11"/>
          </p:nvPr>
        </p:nvSpPr>
        <p:spPr>
          <a:xfrm>
            <a:off x="331789" y="1002507"/>
            <a:ext cx="8491537" cy="3277215"/>
          </a:xfrm>
        </p:spPr>
        <p:txBody>
          <a:bodyPr>
            <a:normAutofit/>
          </a:bodyPr>
          <a:lstStyle>
            <a:lvl1pPr>
              <a:defRPr sz="2800">
                <a:latin typeface="Helvetica"/>
                <a:cs typeface="Helvetica"/>
              </a:defRPr>
            </a:lvl1pPr>
            <a:lvl2pPr>
              <a:defRPr sz="2400">
                <a:latin typeface="Helvetica"/>
                <a:cs typeface="Helvetica"/>
              </a:defRPr>
            </a:lvl2pPr>
            <a:lvl3pPr>
              <a:defRPr sz="2000">
                <a:latin typeface="Helvetica"/>
                <a:cs typeface="Helvetica"/>
              </a:defRPr>
            </a:lvl3pPr>
            <a:lvl4pPr>
              <a:defRPr sz="1800">
                <a:latin typeface="Helvetica"/>
                <a:cs typeface="Helvetica"/>
              </a:defRPr>
            </a:lvl4pPr>
            <a:lvl5pPr>
              <a:defRPr sz="1800">
                <a:latin typeface="Helvetica"/>
                <a:cs typeface="Helvetica"/>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8694114" y="260067"/>
            <a:ext cx="258422" cy="258422"/>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lvl="0" algn="ctr"/>
            <a:fld id="{9A1CA675-59C5-1A43-B32F-773BB9D73629}" type="slidenum">
              <a:rPr lang="en-US" sz="700" smtClean="0">
                <a:solidFill>
                  <a:prstClr val="white"/>
                </a:solidFill>
                <a:latin typeface="Helvetica" charset="0"/>
                <a:ea typeface="Helvetica" charset="0"/>
                <a:cs typeface="Helvetica" charset="0"/>
              </a:rPr>
              <a:t>‹#›</a:t>
            </a:fld>
            <a:endParaRPr lang="en-US" sz="700" dirty="0">
              <a:solidFill>
                <a:prstClr val="white"/>
              </a:solidFill>
              <a:latin typeface="Helvetica" charset="0"/>
              <a:ea typeface="Helvetica" charset="0"/>
              <a:cs typeface="Helvetica" charset="0"/>
            </a:endParaRPr>
          </a:p>
        </p:txBody>
      </p:sp>
    </p:spTree>
    <p:extLst>
      <p:ext uri="{BB962C8B-B14F-4D97-AF65-F5344CB8AC3E}">
        <p14:creationId xmlns:p14="http://schemas.microsoft.com/office/powerpoint/2010/main" val="3395390634"/>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Just Title">
    <p:bg>
      <p:bgRef idx="1001">
        <a:schemeClr val="bg1"/>
      </p:bgRef>
    </p:bg>
    <p:spTree>
      <p:nvGrpSpPr>
        <p:cNvPr id="1" name=""/>
        <p:cNvGrpSpPr/>
        <p:nvPr/>
      </p:nvGrpSpPr>
      <p:grpSpPr>
        <a:xfrm>
          <a:off x="0" y="0"/>
          <a:ext cx="0" cy="0"/>
          <a:chOff x="0" y="0"/>
          <a:chExt cx="0" cy="0"/>
        </a:xfrm>
      </p:grpSpPr>
      <p:sp>
        <p:nvSpPr>
          <p:cNvPr id="7" name="Rectangle 6"/>
          <p:cNvSpPr/>
          <p:nvPr/>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p:nvSpPr>
        <p:spPr>
          <a:xfrm>
            <a:off x="0" y="0"/>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121482" y="122892"/>
            <a:ext cx="8479593" cy="513522"/>
          </a:xfrm>
        </p:spPr>
        <p:txBody>
          <a:bodyPr>
            <a:normAutofit/>
          </a:bodyPr>
          <a:lstStyle>
            <a:lvl1pPr algn="l">
              <a:defRPr sz="2800">
                <a:solidFill>
                  <a:srgbClr val="FFFFFF"/>
                </a:solidFill>
                <a:latin typeface="Helvetica"/>
                <a:cs typeface="Helvetica"/>
              </a:defRPr>
            </a:lvl1pPr>
          </a:lstStyle>
          <a:p>
            <a:r>
              <a:rPr lang="en-US"/>
              <a:t>Click to edit Master title style</a:t>
            </a:r>
          </a:p>
        </p:txBody>
      </p:sp>
      <p:sp>
        <p:nvSpPr>
          <p:cNvPr id="5" name="Rectangle 4"/>
          <p:cNvSpPr/>
          <p:nvPr/>
        </p:nvSpPr>
        <p:spPr>
          <a:xfrm>
            <a:off x="8694114" y="260067"/>
            <a:ext cx="258422" cy="258422"/>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lvl="0" algn="ctr"/>
            <a:fld id="{9A1CA675-59C5-1A43-B32F-773BB9D73629}" type="slidenum">
              <a:rPr lang="en-US" sz="700" smtClean="0">
                <a:solidFill>
                  <a:prstClr val="white"/>
                </a:solidFill>
                <a:latin typeface="Helvetica" charset="0"/>
                <a:ea typeface="Helvetica" charset="0"/>
                <a:cs typeface="Helvetica" charset="0"/>
              </a:rPr>
              <a:t>‹#›</a:t>
            </a:fld>
            <a:endParaRPr lang="en-US" sz="700" dirty="0">
              <a:solidFill>
                <a:prstClr val="white"/>
              </a:solidFill>
              <a:latin typeface="Helvetica" charset="0"/>
              <a:ea typeface="Helvetica" charset="0"/>
              <a:cs typeface="Helvetica" charset="0"/>
            </a:endParaRPr>
          </a:p>
        </p:txBody>
      </p:sp>
      <p:sp>
        <p:nvSpPr>
          <p:cNvPr id="6" name="Rectangle 5"/>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0" y="0"/>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8694114" y="260067"/>
            <a:ext cx="258422" cy="258422"/>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lvl="0" algn="ctr"/>
            <a:fld id="{9A1CA675-59C5-1A43-B32F-773BB9D73629}" type="slidenum">
              <a:rPr lang="en-US" sz="700" smtClean="0">
                <a:solidFill>
                  <a:prstClr val="white"/>
                </a:solidFill>
                <a:latin typeface="Helvetica" charset="0"/>
                <a:ea typeface="Helvetica" charset="0"/>
                <a:cs typeface="Helvetica" charset="0"/>
              </a:rPr>
              <a:t>‹#›</a:t>
            </a:fld>
            <a:endParaRPr lang="en-US" sz="700" dirty="0">
              <a:solidFill>
                <a:prstClr val="white"/>
              </a:solidFill>
              <a:latin typeface="Helvetica" charset="0"/>
              <a:ea typeface="Helvetica" charset="0"/>
              <a:cs typeface="Helvetica" charset="0"/>
            </a:endParaRPr>
          </a:p>
        </p:txBody>
      </p:sp>
    </p:spTree>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Copy (No Logo)">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0"/>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121483" y="129321"/>
            <a:ext cx="8501024" cy="513522"/>
          </a:xfrm>
        </p:spPr>
        <p:txBody>
          <a:bodyPr>
            <a:normAutofit/>
          </a:bodyPr>
          <a:lstStyle>
            <a:lvl1pPr algn="l">
              <a:defRPr sz="2800">
                <a:solidFill>
                  <a:srgbClr val="FFFFFF"/>
                </a:solidFill>
                <a:latin typeface="Helvetica"/>
                <a:cs typeface="Helvetica"/>
              </a:defRPr>
            </a:lvl1pPr>
          </a:lstStyle>
          <a:p>
            <a:r>
              <a:rPr lang="en-US"/>
              <a:t>Click to edit Master title style</a:t>
            </a:r>
            <a:endParaRPr lang="en-US" dirty="0"/>
          </a:p>
        </p:txBody>
      </p:sp>
      <p:sp>
        <p:nvSpPr>
          <p:cNvPr id="13" name="Text Placeholder 12"/>
          <p:cNvSpPr>
            <a:spLocks noGrp="1"/>
          </p:cNvSpPr>
          <p:nvPr>
            <p:ph type="body" sz="quarter" idx="11"/>
          </p:nvPr>
        </p:nvSpPr>
        <p:spPr>
          <a:xfrm>
            <a:off x="331789" y="1002507"/>
            <a:ext cx="8491537" cy="3786061"/>
          </a:xfrm>
        </p:spPr>
        <p:txBody>
          <a:bodyPr>
            <a:normAutofit/>
          </a:bodyPr>
          <a:lstStyle>
            <a:lvl1pPr>
              <a:defRPr sz="2800">
                <a:latin typeface="Helvetica"/>
                <a:cs typeface="Helvetica"/>
              </a:defRPr>
            </a:lvl1pPr>
            <a:lvl2pPr>
              <a:defRPr sz="2400">
                <a:latin typeface="Helvetica"/>
                <a:cs typeface="Helvetica"/>
              </a:defRPr>
            </a:lvl2pPr>
            <a:lvl3pPr>
              <a:defRPr sz="2000">
                <a:latin typeface="Helvetica"/>
                <a:cs typeface="Helvetica"/>
              </a:defRPr>
            </a:lvl3pPr>
            <a:lvl4pPr>
              <a:defRPr sz="1800">
                <a:latin typeface="Helvetica"/>
                <a:cs typeface="Helvetica"/>
              </a:defRPr>
            </a:lvl4pPr>
            <a:lvl5pPr>
              <a:defRPr sz="1800">
                <a:latin typeface="Helvetica"/>
                <a:cs typeface="Helvetica"/>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p:cNvSpPr/>
          <p:nvPr userDrawn="1"/>
        </p:nvSpPr>
        <p:spPr>
          <a:xfrm>
            <a:off x="8694114" y="260067"/>
            <a:ext cx="258422" cy="258422"/>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lvl="0" algn="ctr"/>
            <a:fld id="{9A1CA675-59C5-1A43-B32F-773BB9D73629}" type="slidenum">
              <a:rPr lang="en-US" sz="700" smtClean="0">
                <a:solidFill>
                  <a:prstClr val="white"/>
                </a:solidFill>
                <a:latin typeface="Helvetica" charset="0"/>
                <a:ea typeface="Helvetica" charset="0"/>
                <a:cs typeface="Helvetica" charset="0"/>
              </a:rPr>
              <a:t>‹#›</a:t>
            </a:fld>
            <a:endParaRPr lang="en-US" sz="700" dirty="0">
              <a:solidFill>
                <a:prstClr val="white"/>
              </a:solidFill>
              <a:latin typeface="Helvetica" charset="0"/>
              <a:ea typeface="Helvetica" charset="0"/>
              <a:cs typeface="Helvetica" charset="0"/>
            </a:endParaRPr>
          </a:p>
        </p:txBody>
      </p:sp>
    </p:spTree>
    <p:extLst>
      <p:ext uri="{BB962C8B-B14F-4D97-AF65-F5344CB8AC3E}">
        <p14:creationId xmlns:p14="http://schemas.microsoft.com/office/powerpoint/2010/main" val="1251611694"/>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logo only">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userDrawn="1"/>
        </p:nvSpPr>
        <p:spPr>
          <a:xfrm>
            <a:off x="0" y="0"/>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121482" y="122892"/>
            <a:ext cx="8493881" cy="513522"/>
          </a:xfrm>
        </p:spPr>
        <p:txBody>
          <a:bodyPr>
            <a:normAutofit/>
          </a:bodyPr>
          <a:lstStyle>
            <a:lvl1pPr algn="l">
              <a:defRPr sz="2800">
                <a:solidFill>
                  <a:srgbClr val="FFFFFF"/>
                </a:solidFill>
                <a:latin typeface="Helvetica"/>
                <a:cs typeface="Helvetica"/>
              </a:defRPr>
            </a:lvl1pPr>
          </a:lstStyle>
          <a:p>
            <a:r>
              <a:rPr lang="en-US"/>
              <a:t>Click to edit Master title style</a:t>
            </a:r>
            <a:endParaRPr lang="en-US" dirty="0"/>
          </a:p>
        </p:txBody>
      </p:sp>
      <p:pic>
        <p:nvPicPr>
          <p:cNvPr id="6" name="Picture 5" descr="new_Softchoice_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28003" y="4457431"/>
            <a:ext cx="1016000" cy="584200"/>
          </a:xfrm>
          <a:prstGeom prst="rect">
            <a:avLst/>
          </a:prstGeom>
        </p:spPr>
      </p:pic>
      <p:sp>
        <p:nvSpPr>
          <p:cNvPr id="9" name="Rectangle 8"/>
          <p:cNvSpPr/>
          <p:nvPr userDrawn="1"/>
        </p:nvSpPr>
        <p:spPr>
          <a:xfrm>
            <a:off x="8694114" y="260067"/>
            <a:ext cx="258422" cy="258422"/>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lvl="0" algn="ctr"/>
            <a:fld id="{9A1CA675-59C5-1A43-B32F-773BB9D73629}" type="slidenum">
              <a:rPr lang="en-US" sz="700" smtClean="0">
                <a:solidFill>
                  <a:prstClr val="white"/>
                </a:solidFill>
                <a:latin typeface="Helvetica" charset="0"/>
                <a:ea typeface="Helvetica" charset="0"/>
                <a:cs typeface="Helvetica" charset="0"/>
              </a:rPr>
              <a:t>‹#›</a:t>
            </a:fld>
            <a:endParaRPr lang="en-US" sz="700" dirty="0">
              <a:solidFill>
                <a:prstClr val="white"/>
              </a:solidFill>
              <a:latin typeface="Helvetica" charset="0"/>
              <a:ea typeface="Helvetica" charset="0"/>
              <a:cs typeface="Helvetica" charset="0"/>
            </a:endParaRPr>
          </a:p>
        </p:txBody>
      </p:sp>
    </p:spTree>
    <p:extLst>
      <p:ext uri="{BB962C8B-B14F-4D97-AF65-F5344CB8AC3E}">
        <p14:creationId xmlns:p14="http://schemas.microsoft.com/office/powerpoint/2010/main" val="496701392"/>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Just Title">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57984"/>
            <a:ext cx="9144000" cy="654326"/>
          </a:xfrm>
          <a:prstGeom prst="rect">
            <a:avLst/>
          </a:prstGeom>
          <a:solidFill>
            <a:srgbClr val="F79F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userDrawn="1"/>
        </p:nvSpPr>
        <p:spPr>
          <a:xfrm>
            <a:off x="0" y="0"/>
            <a:ext cx="9144000" cy="53674"/>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itle 1"/>
          <p:cNvSpPr>
            <a:spLocks noGrp="1"/>
          </p:cNvSpPr>
          <p:nvPr>
            <p:ph type="title"/>
          </p:nvPr>
        </p:nvSpPr>
        <p:spPr>
          <a:xfrm>
            <a:off x="121482" y="122892"/>
            <a:ext cx="8479593" cy="513522"/>
          </a:xfrm>
        </p:spPr>
        <p:txBody>
          <a:bodyPr>
            <a:normAutofit/>
          </a:bodyPr>
          <a:lstStyle>
            <a:lvl1pPr algn="l">
              <a:defRPr sz="2800">
                <a:solidFill>
                  <a:srgbClr val="FFFFFF"/>
                </a:solidFill>
                <a:latin typeface="Helvetica"/>
                <a:cs typeface="Helvetica"/>
              </a:defRPr>
            </a:lvl1pPr>
          </a:lstStyle>
          <a:p>
            <a:r>
              <a:rPr lang="en-US"/>
              <a:t>Click to edit Master title style</a:t>
            </a:r>
            <a:endParaRPr lang="en-US" dirty="0"/>
          </a:p>
        </p:txBody>
      </p:sp>
      <p:sp>
        <p:nvSpPr>
          <p:cNvPr id="5" name="Rectangle 4"/>
          <p:cNvSpPr/>
          <p:nvPr userDrawn="1"/>
        </p:nvSpPr>
        <p:spPr>
          <a:xfrm>
            <a:off x="8694114" y="260067"/>
            <a:ext cx="258422" cy="258422"/>
          </a:xfrm>
          <a:prstGeom prst="rect">
            <a:avLst/>
          </a:prstGeom>
          <a:solidFill>
            <a:srgbClr val="ED6925"/>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lvl="0" algn="ctr"/>
            <a:fld id="{9A1CA675-59C5-1A43-B32F-773BB9D73629}" type="slidenum">
              <a:rPr lang="en-US" sz="700" smtClean="0">
                <a:solidFill>
                  <a:prstClr val="white"/>
                </a:solidFill>
                <a:latin typeface="Helvetica" charset="0"/>
                <a:ea typeface="Helvetica" charset="0"/>
                <a:cs typeface="Helvetica" charset="0"/>
              </a:rPr>
              <a:t>‹#›</a:t>
            </a:fld>
            <a:endParaRPr lang="en-US" sz="700" dirty="0">
              <a:solidFill>
                <a:prstClr val="white"/>
              </a:solidFill>
              <a:latin typeface="Helvetica" charset="0"/>
              <a:ea typeface="Helvetica" charset="0"/>
              <a:cs typeface="Helvetica" charset="0"/>
            </a:endParaRPr>
          </a:p>
        </p:txBody>
      </p:sp>
    </p:spTree>
    <p:extLst>
      <p:ext uri="{BB962C8B-B14F-4D97-AF65-F5344CB8AC3E}">
        <p14:creationId xmlns:p14="http://schemas.microsoft.com/office/powerpoint/2010/main" val="3847157109"/>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ull bleed image with logo">
    <p:bg>
      <p:bgRef idx="1001">
        <a:schemeClr val="bg1"/>
      </p:bgRef>
    </p:bg>
    <p:spTree>
      <p:nvGrpSpPr>
        <p:cNvPr id="1" name=""/>
        <p:cNvGrpSpPr/>
        <p:nvPr/>
      </p:nvGrpSpPr>
      <p:grpSpPr>
        <a:xfrm>
          <a:off x="0" y="0"/>
          <a:ext cx="0" cy="0"/>
          <a:chOff x="0" y="0"/>
          <a:chExt cx="0" cy="0"/>
        </a:xfrm>
      </p:grpSpPr>
      <p:pic>
        <p:nvPicPr>
          <p:cNvPr id="3" name="Picture 2" descr="new_Softchoice_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28003" y="4457431"/>
            <a:ext cx="1016000" cy="584200"/>
          </a:xfrm>
          <a:prstGeom prst="rect">
            <a:avLst/>
          </a:prstGeom>
        </p:spPr>
      </p:pic>
    </p:spTree>
    <p:extLst>
      <p:ext uri="{BB962C8B-B14F-4D97-AF65-F5344CB8AC3E}">
        <p14:creationId xmlns:p14="http://schemas.microsoft.com/office/powerpoint/2010/main" val="2737816624"/>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tally 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4464650"/>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147436288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2000" y="465324"/>
            <a:ext cx="8479852" cy="302353"/>
          </a:xfrm>
        </p:spPr>
        <p:txBody>
          <a:bodyPr wrap="square" lIns="0" tIns="0" rIns="0" bIns="0">
            <a:spAutoFit/>
          </a:bodyPr>
          <a:lstStyle>
            <a:lvl1pPr>
              <a:lnSpc>
                <a:spcPts val="2306"/>
              </a:lnSpc>
              <a:defRPr sz="2059" strike="noStrike">
                <a:solidFill>
                  <a:srgbClr val="2F2F2F"/>
                </a:solidFill>
              </a:defRPr>
            </a:lvl1pPr>
          </a:lstStyle>
          <a:p>
            <a:r>
              <a:rPr lang="en-US"/>
              <a:t>Title</a:t>
            </a:r>
          </a:p>
        </p:txBody>
      </p:sp>
    </p:spTree>
    <p:extLst>
      <p:ext uri="{BB962C8B-B14F-4D97-AF65-F5344CB8AC3E}">
        <p14:creationId xmlns:p14="http://schemas.microsoft.com/office/powerpoint/2010/main" val="394519403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1999" y="465324"/>
            <a:ext cx="8479852" cy="302353"/>
          </a:xfrm>
        </p:spPr>
        <p:txBody>
          <a:bodyPr wrap="square" lIns="0" tIns="0" rIns="0" bIns="0">
            <a:spAutoFit/>
          </a:bodyPr>
          <a:lstStyle>
            <a:lvl1pPr>
              <a:lnSpc>
                <a:spcPts val="2306"/>
              </a:lnSpc>
              <a:defRPr sz="2059">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341999" y="1411752"/>
            <a:ext cx="3568658" cy="442429"/>
          </a:xfrm>
        </p:spPr>
        <p:txBody>
          <a:bodyPr wrap="square" lIns="0" tIns="0" rIns="0" bIns="0">
            <a:spAutoFit/>
          </a:bodyPr>
          <a:lstStyle>
            <a:lvl1pPr marL="0" indent="0">
              <a:lnSpc>
                <a:spcPts val="1730"/>
              </a:lnSpc>
              <a:buNone/>
              <a:defRPr sz="1471" b="0" i="0">
                <a:solidFill>
                  <a:schemeClr val="tx1"/>
                </a:solidFill>
                <a:latin typeface="+mn-lt"/>
              </a:defRPr>
            </a:lvl1pPr>
            <a:lvl2pPr marL="164764" indent="0">
              <a:buNone/>
              <a:defRPr/>
            </a:lvl2pPr>
            <a:lvl3pPr marL="329526" indent="0">
              <a:buNone/>
              <a:defRPr/>
            </a:lvl3pPr>
            <a:lvl4pPr marL="494291" indent="0">
              <a:buNone/>
              <a:defRPr/>
            </a:lvl4pPr>
            <a:lvl5pPr marL="65905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341996" y="2030700"/>
            <a:ext cx="3568658" cy="1867197"/>
          </a:xfrm>
        </p:spPr>
        <p:txBody>
          <a:bodyPr lIns="0" tIns="0" rIns="0" bIns="0"/>
          <a:lstStyle>
            <a:lvl1pPr marL="205955" indent="-205955">
              <a:lnSpc>
                <a:spcPts val="1298"/>
              </a:lnSpc>
              <a:spcBef>
                <a:spcPts val="0"/>
              </a:spcBef>
              <a:buFont typeface="Arial" panose="020B0604020202020204" pitchFamily="34" charset="0"/>
              <a:buChar char="•"/>
              <a:defRPr sz="1029" b="0" i="0">
                <a:solidFill>
                  <a:schemeClr val="tx1"/>
                </a:solidFill>
                <a:latin typeface="+mn-lt"/>
              </a:defRPr>
            </a:lvl1pPr>
            <a:lvl2pPr marL="0" indent="0">
              <a:lnSpc>
                <a:spcPts val="1298"/>
              </a:lnSpc>
              <a:spcBef>
                <a:spcPts val="0"/>
              </a:spcBef>
              <a:buNone/>
              <a:defRPr sz="1009">
                <a:solidFill>
                  <a:schemeClr val="tx1"/>
                </a:solidFill>
              </a:defRPr>
            </a:lvl2pPr>
            <a:lvl3pPr marL="329526" indent="0">
              <a:buNone/>
              <a:defRPr/>
            </a:lvl3pPr>
            <a:lvl4pPr marL="494291" indent="0">
              <a:buNone/>
              <a:defRPr/>
            </a:lvl4pPr>
            <a:lvl5pPr marL="65905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73846146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lIns="0" rIns="0"/>
          <a:lstStyle/>
          <a:p>
            <a:fld id="{663784D1-9C9B-4DBA-8D0C-1E6EAD2F84DB}" type="datetime1">
              <a:rPr lang="en-US" smtClean="0"/>
              <a:t>10/7/2019</a:t>
            </a:fld>
            <a:endParaRPr lang="en-US" dirty="0"/>
          </a:p>
        </p:txBody>
      </p:sp>
      <p:sp>
        <p:nvSpPr>
          <p:cNvPr id="7" name="Footer Placeholder 6"/>
          <p:cNvSpPr>
            <a:spLocks noGrp="1"/>
          </p:cNvSpPr>
          <p:nvPr>
            <p:ph type="ftr" sz="quarter" idx="11"/>
          </p:nvPr>
        </p:nvSpPr>
        <p:spPr/>
        <p:txBody>
          <a:bodyPr lIns="0" rIns="0"/>
          <a:lstStyle/>
          <a:p>
            <a:endParaRPr lang="en-US" dirty="0"/>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dirty="0"/>
          </a:p>
        </p:txBody>
      </p:sp>
      <p:sp>
        <p:nvSpPr>
          <p:cNvPr id="12" name="Content Placeholder 11"/>
          <p:cNvSpPr>
            <a:spLocks noGrp="1"/>
          </p:cNvSpPr>
          <p:nvPr>
            <p:ph sz="quarter" idx="13"/>
          </p:nvPr>
        </p:nvSpPr>
        <p:spPr>
          <a:xfrm>
            <a:off x="285969" y="1170888"/>
            <a:ext cx="8572062" cy="1587807"/>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708688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En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6268" y="1690496"/>
            <a:ext cx="4791466" cy="1762510"/>
          </a:xfrm>
          <a:prstGeom prst="rect">
            <a:avLst/>
          </a:prstGeom>
        </p:spPr>
      </p:pic>
    </p:spTree>
    <p:extLst>
      <p:ext uri="{BB962C8B-B14F-4D97-AF65-F5344CB8AC3E}">
        <p14:creationId xmlns:p14="http://schemas.microsoft.com/office/powerpoint/2010/main" val="2341355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ull bleed image with logo">
    <p:bg>
      <p:bgRef idx="1001">
        <a:schemeClr val="bg1"/>
      </p:bgRef>
    </p:bg>
    <p:spTree>
      <p:nvGrpSpPr>
        <p:cNvPr id="1" name=""/>
        <p:cNvGrpSpPr/>
        <p:nvPr/>
      </p:nvGrpSpPr>
      <p:grpSpPr>
        <a:xfrm>
          <a:off x="0" y="0"/>
          <a:ext cx="0" cy="0"/>
          <a:chOff x="0" y="0"/>
          <a:chExt cx="0" cy="0"/>
        </a:xfrm>
      </p:grpSpPr>
      <p:pic>
        <p:nvPicPr>
          <p:cNvPr id="3" name="Picture 2" descr="new_Softchoice_logo.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28003" y="4457431"/>
            <a:ext cx="1016000" cy="584200"/>
          </a:xfrm>
          <a:prstGeom prst="rect">
            <a:avLst/>
          </a:prstGeom>
        </p:spPr>
      </p:pic>
      <p:pic>
        <p:nvPicPr>
          <p:cNvPr id="4" name="Picture 3" descr="new_Softchoice_logo.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28003" y="4457431"/>
            <a:ext cx="1016000" cy="584200"/>
          </a:xfrm>
          <a:prstGeom prst="rect">
            <a:avLst/>
          </a:prstGeom>
        </p:spPr>
      </p:pic>
    </p:spTree>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236648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B7679570-464C-4109-8ED7-7EDE7DAB7DC2}" type="datetimeFigureOut">
              <a:rPr lang="en-US" smtClean="0"/>
              <a:t>10/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09F891C-C92A-4143-91D6-621FB9CE795D}" type="slidenum">
              <a:rPr lang="en-US" smtClean="0"/>
              <a:t>‹#›</a:t>
            </a:fld>
            <a:endParaRPr lang="en-US" dirty="0"/>
          </a:p>
        </p:txBody>
      </p:sp>
    </p:spTree>
    <p:extLst>
      <p:ext uri="{BB962C8B-B14F-4D97-AF65-F5344CB8AC3E}">
        <p14:creationId xmlns:p14="http://schemas.microsoft.com/office/powerpoint/2010/main" val="349874689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7679570-464C-4109-8ED7-7EDE7DAB7DC2}" type="datetimeFigureOut">
              <a:rPr lang="en-US" smtClean="0"/>
              <a:t>10/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09F891C-C92A-4143-91D6-621FB9CE795D}" type="slidenum">
              <a:rPr lang="en-US" smtClean="0"/>
              <a:t>‹#›</a:t>
            </a:fld>
            <a:endParaRPr lang="en-US" dirty="0"/>
          </a:p>
        </p:txBody>
      </p:sp>
    </p:spTree>
    <p:extLst>
      <p:ext uri="{BB962C8B-B14F-4D97-AF65-F5344CB8AC3E}">
        <p14:creationId xmlns:p14="http://schemas.microsoft.com/office/powerpoint/2010/main" val="28485271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5"/>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9"/>
            <a:ext cx="7886700" cy="1125140"/>
          </a:xfrm>
        </p:spPr>
        <p:txBody>
          <a:bodyPr/>
          <a:lstStyle>
            <a:lvl1pPr marL="0" indent="0">
              <a:buNone/>
              <a:defRPr sz="1800">
                <a:solidFill>
                  <a:schemeClr val="tx1">
                    <a:tint val="75000"/>
                  </a:schemeClr>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7679570-464C-4109-8ED7-7EDE7DAB7DC2}" type="datetimeFigureOut">
              <a:rPr lang="en-US" smtClean="0"/>
              <a:t>10/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09F891C-C92A-4143-91D6-621FB9CE795D}" type="slidenum">
              <a:rPr lang="en-US" smtClean="0"/>
              <a:t>‹#›</a:t>
            </a:fld>
            <a:endParaRPr lang="en-US" dirty="0"/>
          </a:p>
        </p:txBody>
      </p:sp>
    </p:spTree>
    <p:extLst>
      <p:ext uri="{BB962C8B-B14F-4D97-AF65-F5344CB8AC3E}">
        <p14:creationId xmlns:p14="http://schemas.microsoft.com/office/powerpoint/2010/main" val="11041804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7679570-464C-4109-8ED7-7EDE7DAB7DC2}" type="datetimeFigureOut">
              <a:rPr lang="en-US" smtClean="0"/>
              <a:t>10/7/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09F891C-C92A-4143-91D6-621FB9CE795D}" type="slidenum">
              <a:rPr lang="en-US" smtClean="0"/>
              <a:t>‹#›</a:t>
            </a:fld>
            <a:endParaRPr lang="en-US" dirty="0"/>
          </a:p>
        </p:txBody>
      </p:sp>
    </p:spTree>
    <p:extLst>
      <p:ext uri="{BB962C8B-B14F-4D97-AF65-F5344CB8AC3E}">
        <p14:creationId xmlns:p14="http://schemas.microsoft.com/office/powerpoint/2010/main" val="170750594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1" y="1260872"/>
            <a:ext cx="3887391" cy="617934"/>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Edit Master text styles</a:t>
            </a:r>
          </a:p>
        </p:txBody>
      </p:sp>
      <p:sp>
        <p:nvSpPr>
          <p:cNvPr id="6" name="Content Placeholder 5"/>
          <p:cNvSpPr>
            <a:spLocks noGrp="1"/>
          </p:cNvSpPr>
          <p:nvPr>
            <p:ph sz="quarter" idx="4"/>
          </p:nvPr>
        </p:nvSpPr>
        <p:spPr>
          <a:xfrm>
            <a:off x="4629151"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7679570-464C-4109-8ED7-7EDE7DAB7DC2}" type="datetimeFigureOut">
              <a:rPr lang="en-US" smtClean="0"/>
              <a:t>10/7/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09F891C-C92A-4143-91D6-621FB9CE795D}" type="slidenum">
              <a:rPr lang="en-US" smtClean="0"/>
              <a:t>‹#›</a:t>
            </a:fld>
            <a:endParaRPr lang="en-US" dirty="0"/>
          </a:p>
        </p:txBody>
      </p:sp>
    </p:spTree>
    <p:extLst>
      <p:ext uri="{BB962C8B-B14F-4D97-AF65-F5344CB8AC3E}">
        <p14:creationId xmlns:p14="http://schemas.microsoft.com/office/powerpoint/2010/main" val="22183759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7679570-464C-4109-8ED7-7EDE7DAB7DC2}" type="datetimeFigureOut">
              <a:rPr lang="en-US" smtClean="0"/>
              <a:t>10/7/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709F891C-C92A-4143-91D6-621FB9CE795D}" type="slidenum">
              <a:rPr lang="en-US" smtClean="0"/>
              <a:t>‹#›</a:t>
            </a:fld>
            <a:endParaRPr lang="en-US" dirty="0"/>
          </a:p>
        </p:txBody>
      </p:sp>
    </p:spTree>
    <p:extLst>
      <p:ext uri="{BB962C8B-B14F-4D97-AF65-F5344CB8AC3E}">
        <p14:creationId xmlns:p14="http://schemas.microsoft.com/office/powerpoint/2010/main" val="5836480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7679570-464C-4109-8ED7-7EDE7DAB7DC2}" type="datetimeFigureOut">
              <a:rPr lang="en-US" smtClean="0"/>
              <a:t>10/7/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09F891C-C92A-4143-91D6-621FB9CE795D}" type="slidenum">
              <a:rPr lang="en-US" smtClean="0"/>
              <a:t>‹#›</a:t>
            </a:fld>
            <a:endParaRPr lang="en-US" dirty="0"/>
          </a:p>
        </p:txBody>
      </p:sp>
    </p:spTree>
    <p:extLst>
      <p:ext uri="{BB962C8B-B14F-4D97-AF65-F5344CB8AC3E}">
        <p14:creationId xmlns:p14="http://schemas.microsoft.com/office/powerpoint/2010/main" val="319224865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70"/>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1"/>
            <a:ext cx="2949178" cy="2858691"/>
          </a:xfr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B7679570-464C-4109-8ED7-7EDE7DAB7DC2}" type="datetimeFigureOut">
              <a:rPr lang="en-US" smtClean="0"/>
              <a:t>10/7/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09F891C-C92A-4143-91D6-621FB9CE795D}" type="slidenum">
              <a:rPr lang="en-US" smtClean="0"/>
              <a:t>‹#›</a:t>
            </a:fld>
            <a:endParaRPr lang="en-US" dirty="0"/>
          </a:p>
        </p:txBody>
      </p:sp>
    </p:spTree>
    <p:extLst>
      <p:ext uri="{BB962C8B-B14F-4D97-AF65-F5344CB8AC3E}">
        <p14:creationId xmlns:p14="http://schemas.microsoft.com/office/powerpoint/2010/main" val="22813714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70"/>
            <a:ext cx="4629150" cy="3655219"/>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p:txBody>
      </p:sp>
      <p:sp>
        <p:nvSpPr>
          <p:cNvPr id="4" name="Text Placeholder 3"/>
          <p:cNvSpPr>
            <a:spLocks noGrp="1"/>
          </p:cNvSpPr>
          <p:nvPr>
            <p:ph type="body" sz="half" idx="2"/>
          </p:nvPr>
        </p:nvSpPr>
        <p:spPr>
          <a:xfrm>
            <a:off x="629841" y="1543051"/>
            <a:ext cx="2949178" cy="2858691"/>
          </a:xfr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B7679570-464C-4109-8ED7-7EDE7DAB7DC2}" type="datetimeFigureOut">
              <a:rPr lang="en-US" smtClean="0"/>
              <a:t>10/7/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09F891C-C92A-4143-91D6-621FB9CE795D}" type="slidenum">
              <a:rPr lang="en-US" smtClean="0"/>
              <a:t>‹#›</a:t>
            </a:fld>
            <a:endParaRPr lang="en-US" dirty="0"/>
          </a:p>
        </p:txBody>
      </p:sp>
    </p:spTree>
    <p:extLst>
      <p:ext uri="{BB962C8B-B14F-4D97-AF65-F5344CB8AC3E}">
        <p14:creationId xmlns:p14="http://schemas.microsoft.com/office/powerpoint/2010/main" val="3116260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otally blank">
    <p:bg>
      <p:bgRef idx="1001">
        <a:schemeClr val="bg1"/>
      </p:bgRef>
    </p:bg>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7679570-464C-4109-8ED7-7EDE7DAB7DC2}" type="datetimeFigureOut">
              <a:rPr lang="en-US" smtClean="0"/>
              <a:t>10/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09F891C-C92A-4143-91D6-621FB9CE795D}" type="slidenum">
              <a:rPr lang="en-US" smtClean="0"/>
              <a:t>‹#›</a:t>
            </a:fld>
            <a:endParaRPr lang="en-US" dirty="0"/>
          </a:p>
        </p:txBody>
      </p:sp>
    </p:spTree>
    <p:extLst>
      <p:ext uri="{BB962C8B-B14F-4D97-AF65-F5344CB8AC3E}">
        <p14:creationId xmlns:p14="http://schemas.microsoft.com/office/powerpoint/2010/main" val="151742202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45"/>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1" y="273845"/>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7679570-464C-4109-8ED7-7EDE7DAB7DC2}" type="datetimeFigureOut">
              <a:rPr lang="en-US" smtClean="0"/>
              <a:t>10/7/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09F891C-C92A-4143-91D6-621FB9CE795D}" type="slidenum">
              <a:rPr lang="en-US" smtClean="0"/>
              <a:t>‹#›</a:t>
            </a:fld>
            <a:endParaRPr lang="en-US" dirty="0"/>
          </a:p>
        </p:txBody>
      </p:sp>
    </p:spTree>
    <p:extLst>
      <p:ext uri="{BB962C8B-B14F-4D97-AF65-F5344CB8AC3E}">
        <p14:creationId xmlns:p14="http://schemas.microsoft.com/office/powerpoint/2010/main" val="19955388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X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70901" y="342900"/>
            <a:ext cx="2888100" cy="1200150"/>
          </a:xfrm>
        </p:spPr>
        <p:txBody>
          <a:bodyPr anchor="b">
            <a:noAutofit/>
          </a:bodyPr>
          <a:lstStyle>
            <a:lvl1pPr>
              <a:defRPr sz="2700"/>
            </a:lvl1pPr>
          </a:lstStyle>
          <a:p>
            <a:r>
              <a:rPr lang="en-US" dirty="0"/>
              <a:t>Click to edit Master title style</a:t>
            </a:r>
          </a:p>
        </p:txBody>
      </p:sp>
      <p:sp>
        <p:nvSpPr>
          <p:cNvPr id="4" name="Text Placeholder 3"/>
          <p:cNvSpPr>
            <a:spLocks noGrp="1"/>
          </p:cNvSpPr>
          <p:nvPr>
            <p:ph type="body" sz="half" idx="2"/>
          </p:nvPr>
        </p:nvSpPr>
        <p:spPr>
          <a:xfrm>
            <a:off x="270000" y="1543051"/>
            <a:ext cx="2889000" cy="2858691"/>
          </a:xfrm>
        </p:spPr>
        <p:txBody>
          <a:bodyPr>
            <a:normAutofit/>
          </a:bodyPr>
          <a:lstStyle>
            <a:lvl1pPr marL="0" indent="0">
              <a:lnSpc>
                <a:spcPct val="100000"/>
              </a:lnSpc>
              <a:buNone/>
              <a:defRPr sz="18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Click to edit Master text styles</a:t>
            </a:r>
          </a:p>
        </p:txBody>
      </p:sp>
      <p:sp>
        <p:nvSpPr>
          <p:cNvPr id="18" name="Picture Placeholder 17"/>
          <p:cNvSpPr>
            <a:spLocks noGrp="1"/>
          </p:cNvSpPr>
          <p:nvPr>
            <p:ph type="pic" sz="quarter" idx="10"/>
          </p:nvPr>
        </p:nvSpPr>
        <p:spPr>
          <a:xfrm>
            <a:off x="3158999" y="0"/>
            <a:ext cx="5985000" cy="5143500"/>
          </a:xfrm>
          <a:custGeom>
            <a:avLst/>
            <a:gdLst>
              <a:gd name="connsiteX0" fmla="*/ 1931176 w 7980000"/>
              <a:gd name="connsiteY0" fmla="*/ 1 h 6858000"/>
              <a:gd name="connsiteX1" fmla="*/ 1931176 w 7980000"/>
              <a:gd name="connsiteY1" fmla="*/ 6858000 h 6858000"/>
              <a:gd name="connsiteX2" fmla="*/ 0 w 7980000"/>
              <a:gd name="connsiteY2" fmla="*/ 3429000 h 6858000"/>
              <a:gd name="connsiteX3" fmla="*/ 1931177 w 7980000"/>
              <a:gd name="connsiteY3" fmla="*/ 0 h 6858000"/>
              <a:gd name="connsiteX4" fmla="*/ 7980000 w 7980000"/>
              <a:gd name="connsiteY4" fmla="*/ 0 h 6858000"/>
              <a:gd name="connsiteX5" fmla="*/ 7980000 w 7980000"/>
              <a:gd name="connsiteY5" fmla="*/ 6858000 h 6858000"/>
              <a:gd name="connsiteX6" fmla="*/ 1931177 w 7980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80000" h="6858000">
                <a:moveTo>
                  <a:pt x="1931176" y="1"/>
                </a:moveTo>
                <a:lnTo>
                  <a:pt x="1931176" y="6858000"/>
                </a:lnTo>
                <a:lnTo>
                  <a:pt x="0" y="3429000"/>
                </a:lnTo>
                <a:close/>
                <a:moveTo>
                  <a:pt x="1931177" y="0"/>
                </a:moveTo>
                <a:lnTo>
                  <a:pt x="7980000" y="0"/>
                </a:lnTo>
                <a:lnTo>
                  <a:pt x="7980000" y="6858000"/>
                </a:lnTo>
                <a:lnTo>
                  <a:pt x="1931177" y="6858000"/>
                </a:lnTo>
                <a:close/>
              </a:path>
            </a:pathLst>
          </a:custGeom>
        </p:spPr>
        <p:txBody>
          <a:bodyPr wrap="square">
            <a:noAutofit/>
          </a:bodyPr>
          <a:lstStyle/>
          <a:p>
            <a:endParaRPr lang="en-US" dirty="0"/>
          </a:p>
        </p:txBody>
      </p:sp>
    </p:spTree>
    <p:extLst>
      <p:ext uri="{BB962C8B-B14F-4D97-AF65-F5344CB8AC3E}">
        <p14:creationId xmlns:p14="http://schemas.microsoft.com/office/powerpoint/2010/main" val="36416069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4" y="-234"/>
            <a:ext cx="9143533" cy="5143967"/>
          </a:xfrm>
          <a:prstGeom prst="rect">
            <a:avLst/>
          </a:prstGeom>
        </p:spPr>
      </p:pic>
      <p:pic>
        <p:nvPicPr>
          <p:cNvPr id="6"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white">
          <a:xfrm>
            <a:off x="338725" y="352550"/>
            <a:ext cx="1067477" cy="228621"/>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06851" y="3176063"/>
            <a:ext cx="3414560" cy="1344813"/>
          </a:xfrm>
          <a:prstGeom prst="rect">
            <a:avLst/>
          </a:prstGeom>
        </p:spPr>
      </p:pic>
    </p:spTree>
    <p:extLst>
      <p:ext uri="{BB962C8B-B14F-4D97-AF65-F5344CB8AC3E}">
        <p14:creationId xmlns:p14="http://schemas.microsoft.com/office/powerpoint/2010/main" val="162009373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01977" y="1563140"/>
            <a:ext cx="6723139" cy="1344818"/>
          </a:xfrm>
          <a:noFill/>
        </p:spPr>
        <p:txBody>
          <a:bodyPr lIns="146304" tIns="91440" rIns="146304" bIns="91440" anchor="t" anchorCtr="0"/>
          <a:lstStyle>
            <a:lvl1pPr>
              <a:defRPr sz="3971" spc="-74"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01976" y="2908930"/>
            <a:ext cx="5378503" cy="1344245"/>
          </a:xfrm>
          <a:noFill/>
        </p:spPr>
        <p:txBody>
          <a:bodyPr lIns="164592" tIns="109728" rIns="164592" bIns="109728">
            <a:noAutofit/>
          </a:bodyPr>
          <a:lstStyle>
            <a:lvl1pPr marL="0" indent="0">
              <a:spcBef>
                <a:spcPts val="0"/>
              </a:spcBef>
              <a:buNone/>
              <a:defRPr sz="2353"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338725" y="352550"/>
            <a:ext cx="1067477" cy="228621"/>
          </a:xfrm>
          <a:prstGeom prst="rect">
            <a:avLst/>
          </a:prstGeom>
        </p:spPr>
      </p:pic>
      <p:sp>
        <p:nvSpPr>
          <p:cNvPr id="3" name="Text Placeholder 2"/>
          <p:cNvSpPr>
            <a:spLocks noGrp="1"/>
          </p:cNvSpPr>
          <p:nvPr>
            <p:ph type="body" sz="quarter" idx="13" hasCustomPrompt="1"/>
          </p:nvPr>
        </p:nvSpPr>
        <p:spPr>
          <a:xfrm>
            <a:off x="5580479" y="218302"/>
            <a:ext cx="3361593" cy="429092"/>
          </a:xfrm>
        </p:spPr>
        <p:txBody>
          <a:bodyPr/>
          <a:lstStyle>
            <a:lvl1pPr marL="0" indent="0" algn="r">
              <a:buNone/>
              <a:defRPr sz="1765">
                <a:latin typeface="+mn-lt"/>
              </a:defRPr>
            </a:lvl1pPr>
            <a:lvl2pPr marL="168073" indent="0">
              <a:buNone/>
              <a:defRPr/>
            </a:lvl2pPr>
            <a:lvl3pPr marL="336145" indent="0">
              <a:buNone/>
              <a:defRPr/>
            </a:lvl3pPr>
            <a:lvl4pPr marL="504218" indent="0">
              <a:buNone/>
              <a:defRPr/>
            </a:lvl4pPr>
            <a:lvl5pPr marL="672290" indent="0">
              <a:buNone/>
              <a:defRPr/>
            </a:lvl5pPr>
          </a:lstStyle>
          <a:p>
            <a:pPr lvl="0"/>
            <a:r>
              <a:rPr lang="en-US"/>
              <a:t>Session code</a:t>
            </a:r>
          </a:p>
        </p:txBody>
      </p:sp>
    </p:spTree>
    <p:extLst>
      <p:ext uri="{BB962C8B-B14F-4D97-AF65-F5344CB8AC3E}">
        <p14:creationId xmlns:p14="http://schemas.microsoft.com/office/powerpoint/2010/main" val="3408939595"/>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0" y="891883"/>
            <a:ext cx="8741309" cy="1746440"/>
          </a:xfrm>
        </p:spPr>
        <p:txBody>
          <a:bodyPr>
            <a:spAutoFit/>
          </a:bodyPr>
          <a:lstStyle>
            <a:lvl1pPr marL="0" indent="0">
              <a:buNone/>
              <a:defRPr/>
            </a:lvl1pPr>
            <a:lvl2pPr marL="168073" indent="0">
              <a:buNone/>
              <a:defRPr/>
            </a:lvl2pPr>
            <a:lvl3pPr marL="336145" indent="0">
              <a:buNone/>
              <a:defRPr/>
            </a:lvl3pPr>
            <a:lvl4pPr marL="504218"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5092358"/>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01977" y="890734"/>
            <a:ext cx="8741309" cy="17464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1763706"/>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890733"/>
            <a:ext cx="4033911" cy="1610697"/>
          </a:xfrm>
        </p:spPr>
        <p:txBody>
          <a:bodyPr wrap="square">
            <a:spAutoFit/>
          </a:bodyPr>
          <a:lstStyle>
            <a:lvl1pPr marL="0" indent="0">
              <a:spcBef>
                <a:spcPts val="900"/>
              </a:spcBef>
              <a:buClr>
                <a:schemeClr val="tx1"/>
              </a:buClr>
              <a:buFont typeface="Wingdings" panose="05000000000000000000" pitchFamily="2" charset="2"/>
              <a:buNone/>
              <a:defRPr sz="2206" b="0">
                <a:latin typeface="+mn-lt"/>
              </a:defRPr>
            </a:lvl1pPr>
            <a:lvl2pPr marL="187915" indent="0">
              <a:buFont typeface="Wingdings" panose="05000000000000000000" pitchFamily="2" charset="2"/>
              <a:buNone/>
              <a:defRPr sz="1765" b="0"/>
            </a:lvl2pPr>
            <a:lvl3pPr marL="331476" indent="0">
              <a:buFont typeface="Wingdings" panose="05000000000000000000" pitchFamily="2" charset="2"/>
              <a:buNone/>
              <a:tabLst/>
              <a:defRPr sz="1618" b="0"/>
            </a:lvl3pPr>
            <a:lvl4pPr marL="479706" indent="0">
              <a:buFont typeface="Wingdings" panose="05000000000000000000" pitchFamily="2" charset="2"/>
              <a:buNone/>
              <a:defRPr sz="1618" b="0"/>
            </a:lvl4pPr>
            <a:lvl5pPr marL="627938" indent="0">
              <a:buFont typeface="Wingdings" panose="05000000000000000000" pitchFamily="2" charset="2"/>
              <a:buNone/>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0733"/>
            <a:ext cx="4033911" cy="1868588"/>
          </a:xfrm>
        </p:spPr>
        <p:txBody>
          <a:bodyPr wrap="square">
            <a:spAutoFit/>
          </a:bodyPr>
          <a:lstStyle>
            <a:lvl1pPr marL="0" indent="0">
              <a:spcBef>
                <a:spcPts val="900"/>
              </a:spcBef>
              <a:buClr>
                <a:schemeClr val="tx1"/>
              </a:buClr>
              <a:buFont typeface="Arial" panose="020B0604020202020204" pitchFamily="34" charset="0"/>
              <a:buNone/>
              <a:defRPr lang="en-US" sz="2206" b="0" kern="1200" spc="0" baseline="0" dirty="0">
                <a:gradFill>
                  <a:gsLst>
                    <a:gs pos="1250">
                      <a:schemeClr val="tx1"/>
                    </a:gs>
                    <a:gs pos="100000">
                      <a:schemeClr val="tx1"/>
                    </a:gs>
                  </a:gsLst>
                  <a:lin ang="5400000" scaled="0"/>
                </a:gradFill>
                <a:latin typeface="+mn-lt"/>
                <a:ea typeface="+mn-ea"/>
                <a:cs typeface="+mn-cs"/>
              </a:defRPr>
            </a:lvl1pPr>
            <a:lvl2pPr marL="187915" indent="0">
              <a:buFont typeface="Arial" panose="020B0604020202020204" pitchFamily="34" charset="0"/>
              <a:buNone/>
              <a:defRPr lang="en-US" sz="1765" b="0" kern="1200" spc="0" baseline="0" dirty="0">
                <a:gradFill>
                  <a:gsLst>
                    <a:gs pos="1250">
                      <a:schemeClr val="tx1"/>
                    </a:gs>
                    <a:gs pos="100000">
                      <a:schemeClr val="tx1"/>
                    </a:gs>
                  </a:gsLst>
                  <a:lin ang="5400000" scaled="0"/>
                </a:gradFill>
                <a:latin typeface="+mn-lt"/>
                <a:ea typeface="+mn-ea"/>
                <a:cs typeface="+mn-cs"/>
              </a:defRPr>
            </a:lvl2pPr>
            <a:lvl3pPr marL="331476"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3pPr>
            <a:lvl4pPr marL="479706" indent="0">
              <a:buFont typeface="Arial" panose="020B0604020202020204" pitchFamily="34" charset="0"/>
              <a:buNone/>
              <a:defRPr lang="en-US" sz="1618" b="0" kern="1200" spc="0" baseline="0" dirty="0">
                <a:gradFill>
                  <a:gsLst>
                    <a:gs pos="1250">
                      <a:schemeClr val="tx1"/>
                    </a:gs>
                    <a:gs pos="100000">
                      <a:schemeClr val="tx1"/>
                    </a:gs>
                  </a:gsLst>
                  <a:lin ang="5400000" scaled="0"/>
                </a:gradFill>
                <a:latin typeface="+mn-lt"/>
                <a:ea typeface="+mn-ea"/>
                <a:cs typeface="+mn-cs"/>
              </a:defRPr>
            </a:lvl4pPr>
            <a:lvl5pPr marL="627938" indent="0">
              <a:buFont typeface="Arial" panose="020B0604020202020204" pitchFamily="34" charset="0"/>
              <a:buNone/>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378163" marR="0" lvl="0" indent="-378163" algn="l" defTabSz="685775" rtl="0" eaLnBrk="1" fontAlgn="auto" latinLnBrk="0" hangingPunct="1">
              <a:lnSpc>
                <a:spcPct val="90000"/>
              </a:lnSpc>
              <a:spcBef>
                <a:spcPts val="900"/>
              </a:spcBef>
              <a:spcAft>
                <a:spcPts val="0"/>
              </a:spcAft>
              <a:buClr>
                <a:schemeClr val="tx1"/>
              </a:buClr>
              <a:buSzPct val="90000"/>
              <a:tabLst/>
            </a:pPr>
            <a:r>
              <a:rPr lang="en-US"/>
              <a:t>Edit Master text styles</a:t>
            </a:r>
          </a:p>
          <a:p>
            <a:pPr marL="378163" marR="0" lvl="1" indent="-378163" algn="l" defTabSz="685775" rtl="0" eaLnBrk="1" fontAlgn="auto" latinLnBrk="0" hangingPunct="1">
              <a:lnSpc>
                <a:spcPct val="90000"/>
              </a:lnSpc>
              <a:spcBef>
                <a:spcPts val="900"/>
              </a:spcBef>
              <a:spcAft>
                <a:spcPts val="0"/>
              </a:spcAft>
              <a:buClr>
                <a:schemeClr val="tx1"/>
              </a:buClr>
              <a:buSzPct val="90000"/>
              <a:tabLst/>
            </a:pPr>
            <a:r>
              <a:rPr lang="en-US"/>
              <a:t>Second level</a:t>
            </a:r>
          </a:p>
          <a:p>
            <a:pPr marL="378163" marR="0" lvl="2" indent="-378163" algn="l" defTabSz="685775" rtl="0" eaLnBrk="1" fontAlgn="auto" latinLnBrk="0" hangingPunct="1">
              <a:lnSpc>
                <a:spcPct val="90000"/>
              </a:lnSpc>
              <a:spcBef>
                <a:spcPts val="900"/>
              </a:spcBef>
              <a:spcAft>
                <a:spcPts val="0"/>
              </a:spcAft>
              <a:buClr>
                <a:schemeClr val="tx1"/>
              </a:buClr>
              <a:buSzPct val="90000"/>
              <a:tabLst/>
            </a:pPr>
            <a:r>
              <a:rPr lang="en-US"/>
              <a:t>Third level</a:t>
            </a:r>
          </a:p>
          <a:p>
            <a:pPr marL="378163" marR="0" lvl="3" indent="-378163" algn="l" defTabSz="685775" rtl="0" eaLnBrk="1" fontAlgn="auto" latinLnBrk="0" hangingPunct="1">
              <a:lnSpc>
                <a:spcPct val="90000"/>
              </a:lnSpc>
              <a:spcBef>
                <a:spcPts val="900"/>
              </a:spcBef>
              <a:spcAft>
                <a:spcPts val="0"/>
              </a:spcAft>
              <a:buClr>
                <a:schemeClr val="tx1"/>
              </a:buClr>
              <a:buSzPct val="90000"/>
              <a:tabLst/>
            </a:pPr>
            <a:r>
              <a:rPr lang="en-US"/>
              <a:t>Fourth level</a:t>
            </a:r>
          </a:p>
          <a:p>
            <a:pPr marL="378163" marR="0" lvl="4" indent="-378163" algn="l" defTabSz="685775" rtl="0" eaLnBrk="1" fontAlgn="auto" latinLnBrk="0" hangingPunct="1">
              <a:lnSpc>
                <a:spcPct val="90000"/>
              </a:lnSpc>
              <a:spcBef>
                <a:spcPts val="9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46977503"/>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890733"/>
            <a:ext cx="4033911" cy="1610697"/>
          </a:xfrm>
        </p:spPr>
        <p:txBody>
          <a:bodyPr wrap="square">
            <a:spAutoFit/>
          </a:bodyPr>
          <a:lstStyle>
            <a:lvl1pPr marL="170407" indent="-170407">
              <a:spcBef>
                <a:spcPts val="900"/>
              </a:spcBef>
              <a:buClr>
                <a:schemeClr val="tx1"/>
              </a:buClr>
              <a:buFont typeface="Wingdings" panose="05000000000000000000" pitchFamily="2" charset="2"/>
              <a:buChar char=""/>
              <a:defRPr sz="2206" b="0">
                <a:latin typeface="+mn-lt"/>
              </a:defRPr>
            </a:lvl1pPr>
            <a:lvl2pPr marL="313969" indent="-126054">
              <a:buFont typeface="Wingdings" panose="05000000000000000000" pitchFamily="2" charset="2"/>
              <a:buChar char=""/>
              <a:defRPr sz="1765" b="0"/>
            </a:lvl2pPr>
            <a:lvl3pPr marL="470370" indent="-138893">
              <a:buFont typeface="Wingdings" panose="05000000000000000000" pitchFamily="2" charset="2"/>
              <a:buChar char=""/>
              <a:tabLst/>
              <a:defRPr sz="1618" b="0"/>
            </a:lvl3pPr>
            <a:lvl4pPr marL="609263" indent="-129557">
              <a:buFont typeface="Wingdings" panose="05000000000000000000" pitchFamily="2" charset="2"/>
              <a:buChar char=""/>
              <a:defRPr sz="1618" b="0"/>
            </a:lvl4pPr>
            <a:lvl5pPr marL="752825" indent="-124888">
              <a:buFont typeface="Wingdings" panose="05000000000000000000" pitchFamily="2" charset="2"/>
              <a:buChar char=""/>
              <a:tabLst/>
              <a:defRPr sz="161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890733"/>
            <a:ext cx="4033911" cy="1868588"/>
          </a:xfrm>
        </p:spPr>
        <p:txBody>
          <a:bodyPr wrap="square">
            <a:spAutoFit/>
          </a:bodyPr>
          <a:lstStyle>
            <a:lvl1pPr marL="211258" indent="-211258">
              <a:spcBef>
                <a:spcPts val="900"/>
              </a:spcBef>
              <a:buClr>
                <a:schemeClr val="tx1"/>
              </a:buClr>
              <a:buFont typeface="Arial" pitchFamily="34" charset="0"/>
              <a:buChar char="•"/>
              <a:defRPr lang="en-US" sz="2206" b="0" kern="1200" spc="0" baseline="0" dirty="0">
                <a:gradFill>
                  <a:gsLst>
                    <a:gs pos="1250">
                      <a:schemeClr val="tx1"/>
                    </a:gs>
                    <a:gs pos="100000">
                      <a:schemeClr val="tx1"/>
                    </a:gs>
                  </a:gsLst>
                  <a:lin ang="5400000" scaled="0"/>
                </a:gradFill>
                <a:latin typeface="+mn-lt"/>
                <a:ea typeface="+mn-ea"/>
                <a:cs typeface="+mn-cs"/>
              </a:defRPr>
            </a:lvl1pPr>
            <a:lvl2pPr marL="440024" indent="-252109">
              <a:defRPr lang="en-US" sz="1765" b="0" kern="1200" spc="0" baseline="0" dirty="0">
                <a:gradFill>
                  <a:gsLst>
                    <a:gs pos="1250">
                      <a:schemeClr val="tx1"/>
                    </a:gs>
                    <a:gs pos="100000">
                      <a:schemeClr val="tx1"/>
                    </a:gs>
                  </a:gsLst>
                  <a:lin ang="5400000" scaled="0"/>
                </a:gradFill>
                <a:latin typeface="+mn-lt"/>
                <a:ea typeface="+mn-ea"/>
                <a:cs typeface="+mn-cs"/>
              </a:defRPr>
            </a:lvl2pPr>
            <a:lvl3pPr marL="583585" indent="-252109">
              <a:tabLst/>
              <a:defRPr lang="en-US" sz="1618" b="0" kern="1200" spc="0" baseline="0" dirty="0">
                <a:gradFill>
                  <a:gsLst>
                    <a:gs pos="1250">
                      <a:schemeClr val="tx1"/>
                    </a:gs>
                    <a:gs pos="100000">
                      <a:schemeClr val="tx1"/>
                    </a:gs>
                  </a:gsLst>
                  <a:lin ang="5400000" scaled="0"/>
                </a:gradFill>
                <a:latin typeface="+mn-lt"/>
                <a:ea typeface="+mn-ea"/>
                <a:cs typeface="+mn-cs"/>
              </a:defRPr>
            </a:lvl3pPr>
            <a:lvl4pPr marL="731815" indent="-252109">
              <a:defRPr lang="en-US" sz="1618" b="0" kern="1200" spc="0" baseline="0" dirty="0">
                <a:gradFill>
                  <a:gsLst>
                    <a:gs pos="1250">
                      <a:schemeClr val="tx1"/>
                    </a:gs>
                    <a:gs pos="100000">
                      <a:schemeClr val="tx1"/>
                    </a:gs>
                  </a:gsLst>
                  <a:lin ang="5400000" scaled="0"/>
                </a:gradFill>
                <a:latin typeface="+mn-lt"/>
                <a:ea typeface="+mn-ea"/>
                <a:cs typeface="+mn-cs"/>
              </a:defRPr>
            </a:lvl4pPr>
            <a:lvl5pPr marL="880046" indent="-252109">
              <a:tabLst/>
              <a:defRPr lang="en-US" sz="1618" b="0" kern="1200" spc="0" baseline="0" dirty="0">
                <a:gradFill>
                  <a:gsLst>
                    <a:gs pos="1250">
                      <a:schemeClr val="tx1"/>
                    </a:gs>
                    <a:gs pos="100000">
                      <a:schemeClr val="tx1"/>
                    </a:gs>
                  </a:gsLst>
                  <a:lin ang="5400000" scaled="0"/>
                </a:gradFill>
                <a:latin typeface="+mn-lt"/>
                <a:ea typeface="+mn-ea"/>
                <a:cs typeface="+mn-cs"/>
              </a:defRPr>
            </a:lvl5pPr>
          </a:lstStyle>
          <a:p>
            <a:pPr marL="170407" marR="0" lvl="0"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Edit Master text styles</a:t>
            </a:r>
          </a:p>
          <a:p>
            <a:pPr marL="170407" marR="0" lvl="1"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Second level</a:t>
            </a:r>
          </a:p>
          <a:p>
            <a:pPr marL="170407" marR="0" lvl="2"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Third level</a:t>
            </a:r>
          </a:p>
          <a:p>
            <a:pPr marL="170407" marR="0" lvl="3"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ourth level</a:t>
            </a:r>
          </a:p>
          <a:p>
            <a:pPr marL="170407" marR="0" lvl="4" indent="-170407" algn="l" defTabSz="685775" rtl="0" eaLnBrk="1" fontAlgn="auto" latinLnBrk="0" hangingPunct="1">
              <a:lnSpc>
                <a:spcPct val="90000"/>
              </a:lnSpc>
              <a:spcBef>
                <a:spcPts val="9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837362375"/>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342958"/>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theme" Target="../theme/theme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image" Target="../media/image9.emf"/><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heme" Target="../theme/theme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heme" Target="../theme/theme6.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77.xml"/><Relationship Id="rId7" Type="http://schemas.openxmlformats.org/officeDocument/2006/relationships/theme" Target="../theme/theme7.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image" Target="../media/image2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21" Type="http://schemas.openxmlformats.org/officeDocument/2006/relationships/image" Target="../media/image9.emf"/><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theme" Target="../theme/theme9.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148471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Lst>
  <p:hf sldNum="0" hdr="0" dt="0"/>
  <p:txStyles>
    <p:titleStyle>
      <a:lvl1pPr algn="ctr" defTabSz="457200" rtl="0" eaLnBrk="1" latinLnBrk="0" hangingPunct="1">
        <a:spcBef>
          <a:spcPct val="0"/>
        </a:spcBef>
        <a:buNone/>
        <a:defRPr sz="4400" kern="1200">
          <a:solidFill>
            <a:schemeClr val="tx1"/>
          </a:solidFill>
          <a:latin typeface="Helvetica"/>
          <a:ea typeface="+mj-ea"/>
          <a:cs typeface="Helvetica"/>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28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24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20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20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4800600"/>
            <a:ext cx="9144000"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4750737"/>
            <a:ext cx="9144001" cy="494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822960" y="214953"/>
            <a:ext cx="7543800" cy="1088068"/>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822960" y="1384301"/>
            <a:ext cx="7543800" cy="301752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22961" y="4844839"/>
            <a:ext cx="1854203" cy="273844"/>
          </a:xfrm>
          <a:prstGeom prst="rect">
            <a:avLst/>
          </a:prstGeom>
        </p:spPr>
        <p:txBody>
          <a:bodyPr vert="horz" lIns="91440" tIns="45720" rIns="91440" bIns="45720" rtlCol="0" anchor="ctr"/>
          <a:lstStyle>
            <a:lvl1pPr algn="l">
              <a:defRPr sz="675">
                <a:solidFill>
                  <a:srgbClr val="FFFFFF"/>
                </a:solidFill>
              </a:defRPr>
            </a:lvl1pPr>
          </a:lstStyle>
          <a:p>
            <a:fld id="{9D6E9DEC-419B-4CC5-A080-3B06BD5A8291}" type="datetimeFigureOut">
              <a:rPr lang="en-US" smtClean="0"/>
              <a:t>10/7/2019</a:t>
            </a:fld>
            <a:endParaRPr lang="en-US" dirty="0"/>
          </a:p>
        </p:txBody>
      </p:sp>
      <p:sp>
        <p:nvSpPr>
          <p:cNvPr id="5" name="Footer Placeholder 4"/>
          <p:cNvSpPr>
            <a:spLocks noGrp="1"/>
          </p:cNvSpPr>
          <p:nvPr>
            <p:ph type="ftr" sz="quarter" idx="3"/>
          </p:nvPr>
        </p:nvSpPr>
        <p:spPr>
          <a:xfrm>
            <a:off x="2764639" y="4844839"/>
            <a:ext cx="3617103" cy="273844"/>
          </a:xfrm>
          <a:prstGeom prst="rect">
            <a:avLst/>
          </a:prstGeom>
        </p:spPr>
        <p:txBody>
          <a:bodyPr vert="horz" lIns="91440" tIns="45720" rIns="91440" bIns="45720" rtlCol="0" anchor="ctr"/>
          <a:lstStyle>
            <a:lvl1pPr algn="ctr">
              <a:defRPr sz="675"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7425344" y="4844839"/>
            <a:ext cx="984019" cy="273844"/>
          </a:xfrm>
          <a:prstGeom prst="rect">
            <a:avLst/>
          </a:prstGeom>
        </p:spPr>
        <p:txBody>
          <a:bodyPr vert="horz" lIns="91440" tIns="45720" rIns="91440" bIns="45720" rtlCol="0" anchor="ctr"/>
          <a:lstStyle>
            <a:lvl1pPr algn="r">
              <a:defRPr sz="788">
                <a:solidFill>
                  <a:srgbClr val="FFFFFF"/>
                </a:soli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42548403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817" r:id="rId12"/>
  </p:sldLayoutIdLst>
  <p:hf sldNum="0" hdr="0" ftr="0" dt="0"/>
  <p:txStyles>
    <p:titleStyle>
      <a:lvl1pPr algn="l" defTabSz="685800" rtl="0" eaLnBrk="1" latinLnBrk="0" hangingPunct="1">
        <a:lnSpc>
          <a:spcPct val="85000"/>
        </a:lnSpc>
        <a:spcBef>
          <a:spcPct val="0"/>
        </a:spcBef>
        <a:buNone/>
        <a:defRPr sz="3600" kern="1200" spc="-38" baseline="0">
          <a:solidFill>
            <a:schemeClr val="tx1">
              <a:lumMod val="75000"/>
              <a:lumOff val="25000"/>
            </a:schemeClr>
          </a:solidFill>
          <a:latin typeface="+mj-lt"/>
          <a:ea typeface="+mj-ea"/>
          <a:cs typeface="+mj-cs"/>
        </a:defRPr>
      </a:lvl1pPr>
    </p:titleStyle>
    <p:bodyStyle>
      <a:lvl1pPr marL="68580" indent="-68580" algn="l" defTabSz="685800" rtl="0" eaLnBrk="1" latinLnBrk="0" hangingPunct="1">
        <a:lnSpc>
          <a:spcPct val="90000"/>
        </a:lnSpc>
        <a:spcBef>
          <a:spcPts val="900"/>
        </a:spcBef>
        <a:spcAft>
          <a:spcPts val="150"/>
        </a:spcAft>
        <a:buClr>
          <a:schemeClr val="accent1"/>
        </a:buClr>
        <a:buSzPct val="100000"/>
        <a:buFont typeface="Calibri" panose="020F0502020204030204" pitchFamily="34" charset="0"/>
        <a:buChar char=" "/>
        <a:defRPr sz="1500" kern="1200">
          <a:solidFill>
            <a:schemeClr val="tx1">
              <a:lumMod val="75000"/>
              <a:lumOff val="25000"/>
            </a:schemeClr>
          </a:solidFill>
          <a:latin typeface="+mn-lt"/>
          <a:ea typeface="+mn-ea"/>
          <a:cs typeface="+mn-cs"/>
        </a:defRPr>
      </a:lvl1pPr>
      <a:lvl2pPr marL="288036" indent="-137160" algn="l" defTabSz="685800" rtl="0" eaLnBrk="1" latinLnBrk="0" hangingPunct="1">
        <a:lnSpc>
          <a:spcPct val="90000"/>
        </a:lnSpc>
        <a:spcBef>
          <a:spcPts val="150"/>
        </a:spcBef>
        <a:spcAft>
          <a:spcPts val="300"/>
        </a:spcAft>
        <a:buClr>
          <a:schemeClr val="accent1"/>
        </a:buClr>
        <a:buFont typeface="Calibri" pitchFamily="34" charset="0"/>
        <a:buChar char="◦"/>
        <a:defRPr sz="1350" kern="1200">
          <a:solidFill>
            <a:schemeClr val="tx1">
              <a:lumMod val="75000"/>
              <a:lumOff val="25000"/>
            </a:schemeClr>
          </a:solidFill>
          <a:latin typeface="+mn-lt"/>
          <a:ea typeface="+mn-ea"/>
          <a:cs typeface="+mn-cs"/>
        </a:defRPr>
      </a:lvl2pPr>
      <a:lvl3pPr marL="425196" indent="-13716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3pPr>
      <a:lvl4pPr marL="562356" indent="-13716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4pPr>
      <a:lvl5pPr marL="699516" indent="-13716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590962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Lst>
  <p:txStyles>
    <p:titleStyle>
      <a:lvl1pPr algn="ctr" defTabSz="342900" rtl="0" eaLnBrk="1" latinLnBrk="0" hangingPunct="1">
        <a:spcBef>
          <a:spcPct val="0"/>
        </a:spcBef>
        <a:buNone/>
        <a:defRPr sz="3150" kern="1200">
          <a:solidFill>
            <a:schemeClr val="tx1"/>
          </a:solidFill>
          <a:latin typeface="Helvetica"/>
          <a:ea typeface="+mj-ea"/>
          <a:cs typeface="Helvetica"/>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Helvetica"/>
          <a:ea typeface="+mn-ea"/>
          <a:cs typeface="Helvetica"/>
        </a:defRPr>
      </a:lvl1pPr>
      <a:lvl2pPr marL="557213" indent="-214313" algn="l" defTabSz="342900" rtl="0" eaLnBrk="1" latinLnBrk="0" hangingPunct="1">
        <a:spcBef>
          <a:spcPct val="20000"/>
        </a:spcBef>
        <a:buFont typeface="Arial"/>
        <a:buChar char="–"/>
        <a:defRPr sz="2100" kern="1200">
          <a:solidFill>
            <a:schemeClr val="tx1"/>
          </a:solidFill>
          <a:latin typeface="Helvetica"/>
          <a:ea typeface="+mn-ea"/>
          <a:cs typeface="Helvetica"/>
        </a:defRPr>
      </a:lvl2pPr>
      <a:lvl3pPr marL="857250" indent="-171450" algn="l" defTabSz="342900" rtl="0" eaLnBrk="1" latinLnBrk="0" hangingPunct="1">
        <a:spcBef>
          <a:spcPct val="20000"/>
        </a:spcBef>
        <a:buFont typeface="Arial"/>
        <a:buChar char="•"/>
        <a:defRPr sz="1800" kern="1200">
          <a:solidFill>
            <a:schemeClr val="tx1"/>
          </a:solidFill>
          <a:latin typeface="Helvetica"/>
          <a:ea typeface="+mn-ea"/>
          <a:cs typeface="Helvetica"/>
        </a:defRPr>
      </a:lvl3pPr>
      <a:lvl4pPr marL="1200150" indent="-171450" algn="l" defTabSz="342900" rtl="0" eaLnBrk="1" latinLnBrk="0" hangingPunct="1">
        <a:spcBef>
          <a:spcPct val="20000"/>
        </a:spcBef>
        <a:buFont typeface="Arial"/>
        <a:buChar char="–"/>
        <a:defRPr sz="1500" kern="1200">
          <a:solidFill>
            <a:schemeClr val="tx1"/>
          </a:solidFill>
          <a:latin typeface="Helvetica"/>
          <a:ea typeface="+mn-ea"/>
          <a:cs typeface="Helvetica"/>
        </a:defRPr>
      </a:lvl4pPr>
      <a:lvl5pPr marL="1543050" indent="-171450" algn="l" defTabSz="342900" rtl="0" eaLnBrk="1" latinLnBrk="0" hangingPunct="1">
        <a:spcBef>
          <a:spcPct val="20000"/>
        </a:spcBef>
        <a:buFont typeface="Arial"/>
        <a:buChar char="»"/>
        <a:defRPr sz="1500" kern="1200">
          <a:solidFill>
            <a:schemeClr val="tx1"/>
          </a:solidFill>
          <a:latin typeface="Helvetica"/>
          <a:ea typeface="+mn-ea"/>
          <a:cs typeface="Helvetica"/>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891884"/>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rot="5400000">
            <a:off x="6890310" y="2259293"/>
            <a:ext cx="5143967" cy="624914"/>
          </a:xfrm>
          <a:prstGeom prst="rect">
            <a:avLst/>
          </a:prstGeom>
        </p:spPr>
      </p:pic>
    </p:spTree>
    <p:extLst>
      <p:ext uri="{BB962C8B-B14F-4D97-AF65-F5344CB8AC3E}">
        <p14:creationId xmlns:p14="http://schemas.microsoft.com/office/powerpoint/2010/main" val="802693457"/>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212321"/>
            </a:gs>
            <a:gs pos="100000">
              <a:schemeClr val="tx1">
                <a:lumMod val="65000"/>
                <a:lumOff val="35000"/>
              </a:schemeClr>
            </a:gs>
          </a:gsLst>
          <a:lin ang="18900000" scaled="0"/>
          <a:tileRect/>
        </a:gradFill>
        <a:effectLst/>
      </p:bgPr>
    </p:bg>
    <p:spTree>
      <p:nvGrpSpPr>
        <p:cNvPr id="1" name=""/>
        <p:cNvGrpSpPr/>
        <p:nvPr/>
      </p:nvGrpSpPr>
      <p:grpSpPr>
        <a:xfrm>
          <a:off x="0" y="0"/>
          <a:ext cx="0" cy="0"/>
          <a:chOff x="0" y="0"/>
          <a:chExt cx="0" cy="0"/>
        </a:xfrm>
      </p:grpSpPr>
      <p:grpSp>
        <p:nvGrpSpPr>
          <p:cNvPr id="7" name="Group 6"/>
          <p:cNvGrpSpPr/>
          <p:nvPr/>
        </p:nvGrpSpPr>
        <p:grpSpPr>
          <a:xfrm>
            <a:off x="7805274" y="194013"/>
            <a:ext cx="1159216" cy="310812"/>
            <a:chOff x="8178881" y="116632"/>
            <a:chExt cx="785607" cy="280852"/>
          </a:xfrm>
          <a:solidFill>
            <a:schemeClr val="bg1"/>
          </a:solidFill>
        </p:grpSpPr>
        <p:grpSp>
          <p:nvGrpSpPr>
            <p:cNvPr id="8" name="Group 7"/>
            <p:cNvGrpSpPr/>
            <p:nvPr/>
          </p:nvGrpSpPr>
          <p:grpSpPr>
            <a:xfrm>
              <a:off x="8678684" y="116632"/>
              <a:ext cx="279083" cy="173676"/>
              <a:chOff x="7462838" y="2930525"/>
              <a:chExt cx="1252538" cy="779463"/>
            </a:xfrm>
            <a:grpFill/>
          </p:grpSpPr>
          <p:sp>
            <p:nvSpPr>
              <p:cNvPr id="19" name="Freeform 6"/>
              <p:cNvSpPr>
                <a:spLocks/>
              </p:cNvSpPr>
              <p:nvPr/>
            </p:nvSpPr>
            <p:spPr bwMode="auto">
              <a:xfrm>
                <a:off x="8567738" y="3065463"/>
                <a:ext cx="3175" cy="0"/>
              </a:xfrm>
              <a:custGeom>
                <a:avLst/>
                <a:gdLst>
                  <a:gd name="T0" fmla="*/ 1 w 2"/>
                  <a:gd name="T1" fmla="*/ 2 w 2"/>
                  <a:gd name="T2" fmla="*/ 0 w 2"/>
                  <a:gd name="T3" fmla="*/ 1 w 2"/>
                </a:gdLst>
                <a:ahLst/>
                <a:cxnLst>
                  <a:cxn ang="0">
                    <a:pos x="T0" y="0"/>
                  </a:cxn>
                  <a:cxn ang="0">
                    <a:pos x="T1" y="0"/>
                  </a:cxn>
                  <a:cxn ang="0">
                    <a:pos x="T2" y="0"/>
                  </a:cxn>
                  <a:cxn ang="0">
                    <a:pos x="T3" y="0"/>
                  </a:cxn>
                </a:cxnLst>
                <a:rect l="0" t="0" r="r" b="b"/>
                <a:pathLst>
                  <a:path w="2">
                    <a:moveTo>
                      <a:pt x="1" y="0"/>
                    </a:moveTo>
                    <a:lnTo>
                      <a:pt x="2" y="0"/>
                    </a:lnTo>
                    <a:lnTo>
                      <a:pt x="0" y="0"/>
                    </a:lnTo>
                    <a:lnTo>
                      <a:pt x="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20" name="Freeform 7"/>
              <p:cNvSpPr>
                <a:spLocks/>
              </p:cNvSpPr>
              <p:nvPr/>
            </p:nvSpPr>
            <p:spPr bwMode="auto">
              <a:xfrm>
                <a:off x="7888288" y="3081338"/>
                <a:ext cx="4763" cy="4763"/>
              </a:xfrm>
              <a:custGeom>
                <a:avLst/>
                <a:gdLst>
                  <a:gd name="T0" fmla="*/ 4 w 4"/>
                  <a:gd name="T1" fmla="*/ 0 h 6"/>
                  <a:gd name="T2" fmla="*/ 4 w 4"/>
                  <a:gd name="T3" fmla="*/ 1 h 6"/>
                  <a:gd name="T4" fmla="*/ 4 w 4"/>
                  <a:gd name="T5" fmla="*/ 4 h 6"/>
                  <a:gd name="T6" fmla="*/ 3 w 4"/>
                  <a:gd name="T7" fmla="*/ 5 h 6"/>
                  <a:gd name="T8" fmla="*/ 0 w 4"/>
                  <a:gd name="T9" fmla="*/ 6 h 6"/>
                  <a:gd name="T10" fmla="*/ 4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4" y="0"/>
                    </a:moveTo>
                    <a:lnTo>
                      <a:pt x="4" y="1"/>
                    </a:lnTo>
                    <a:lnTo>
                      <a:pt x="4" y="4"/>
                    </a:lnTo>
                    <a:lnTo>
                      <a:pt x="3" y="5"/>
                    </a:lnTo>
                    <a:lnTo>
                      <a:pt x="0" y="6"/>
                    </a:ln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21" name="Freeform 8"/>
              <p:cNvSpPr>
                <a:spLocks noEditPoints="1"/>
              </p:cNvSpPr>
              <p:nvPr/>
            </p:nvSpPr>
            <p:spPr bwMode="auto">
              <a:xfrm>
                <a:off x="7462838" y="2930525"/>
                <a:ext cx="1252538" cy="779463"/>
              </a:xfrm>
              <a:custGeom>
                <a:avLst/>
                <a:gdLst>
                  <a:gd name="T0" fmla="*/ 521 w 1579"/>
                  <a:gd name="T1" fmla="*/ 912 h 982"/>
                  <a:gd name="T2" fmla="*/ 649 w 1579"/>
                  <a:gd name="T3" fmla="*/ 879 h 982"/>
                  <a:gd name="T4" fmla="*/ 608 w 1579"/>
                  <a:gd name="T5" fmla="*/ 850 h 982"/>
                  <a:gd name="T6" fmla="*/ 928 w 1579"/>
                  <a:gd name="T7" fmla="*/ 662 h 982"/>
                  <a:gd name="T8" fmla="*/ 945 w 1579"/>
                  <a:gd name="T9" fmla="*/ 662 h 982"/>
                  <a:gd name="T10" fmla="*/ 162 w 1579"/>
                  <a:gd name="T11" fmla="*/ 588 h 982"/>
                  <a:gd name="T12" fmla="*/ 362 w 1579"/>
                  <a:gd name="T13" fmla="*/ 576 h 982"/>
                  <a:gd name="T14" fmla="*/ 301 w 1579"/>
                  <a:gd name="T15" fmla="*/ 574 h 982"/>
                  <a:gd name="T16" fmla="*/ 430 w 1579"/>
                  <a:gd name="T17" fmla="*/ 524 h 982"/>
                  <a:gd name="T18" fmla="*/ 1314 w 1579"/>
                  <a:gd name="T19" fmla="*/ 512 h 982"/>
                  <a:gd name="T20" fmla="*/ 1264 w 1579"/>
                  <a:gd name="T21" fmla="*/ 506 h 982"/>
                  <a:gd name="T22" fmla="*/ 1424 w 1579"/>
                  <a:gd name="T23" fmla="*/ 464 h 982"/>
                  <a:gd name="T24" fmla="*/ 1424 w 1579"/>
                  <a:gd name="T25" fmla="*/ 424 h 982"/>
                  <a:gd name="T26" fmla="*/ 831 w 1579"/>
                  <a:gd name="T27" fmla="*/ 393 h 982"/>
                  <a:gd name="T28" fmla="*/ 1475 w 1579"/>
                  <a:gd name="T29" fmla="*/ 395 h 982"/>
                  <a:gd name="T30" fmla="*/ 895 w 1579"/>
                  <a:gd name="T31" fmla="*/ 317 h 982"/>
                  <a:gd name="T32" fmla="*/ 980 w 1579"/>
                  <a:gd name="T33" fmla="*/ 296 h 982"/>
                  <a:gd name="T34" fmla="*/ 1490 w 1579"/>
                  <a:gd name="T35" fmla="*/ 257 h 982"/>
                  <a:gd name="T36" fmla="*/ 526 w 1579"/>
                  <a:gd name="T37" fmla="*/ 187 h 982"/>
                  <a:gd name="T38" fmla="*/ 1335 w 1579"/>
                  <a:gd name="T39" fmla="*/ 184 h 982"/>
                  <a:gd name="T40" fmla="*/ 600 w 1579"/>
                  <a:gd name="T41" fmla="*/ 125 h 982"/>
                  <a:gd name="T42" fmla="*/ 631 w 1579"/>
                  <a:gd name="T43" fmla="*/ 132 h 982"/>
                  <a:gd name="T44" fmla="*/ 710 w 1579"/>
                  <a:gd name="T45" fmla="*/ 100 h 982"/>
                  <a:gd name="T46" fmla="*/ 760 w 1579"/>
                  <a:gd name="T47" fmla="*/ 0 h 982"/>
                  <a:gd name="T48" fmla="*/ 916 w 1579"/>
                  <a:gd name="T49" fmla="*/ 54 h 982"/>
                  <a:gd name="T50" fmla="*/ 916 w 1579"/>
                  <a:gd name="T51" fmla="*/ 112 h 982"/>
                  <a:gd name="T52" fmla="*/ 850 w 1579"/>
                  <a:gd name="T53" fmla="*/ 96 h 982"/>
                  <a:gd name="T54" fmla="*/ 679 w 1579"/>
                  <a:gd name="T55" fmla="*/ 122 h 982"/>
                  <a:gd name="T56" fmla="*/ 445 w 1579"/>
                  <a:gd name="T57" fmla="*/ 237 h 982"/>
                  <a:gd name="T58" fmla="*/ 264 w 1579"/>
                  <a:gd name="T59" fmla="*/ 386 h 982"/>
                  <a:gd name="T60" fmla="*/ 88 w 1579"/>
                  <a:gd name="T61" fmla="*/ 537 h 982"/>
                  <a:gd name="T62" fmla="*/ 162 w 1579"/>
                  <a:gd name="T63" fmla="*/ 533 h 982"/>
                  <a:gd name="T64" fmla="*/ 415 w 1579"/>
                  <a:gd name="T65" fmla="*/ 489 h 982"/>
                  <a:gd name="T66" fmla="*/ 658 w 1579"/>
                  <a:gd name="T67" fmla="*/ 391 h 982"/>
                  <a:gd name="T68" fmla="*/ 787 w 1579"/>
                  <a:gd name="T69" fmla="*/ 321 h 982"/>
                  <a:gd name="T70" fmla="*/ 895 w 1579"/>
                  <a:gd name="T71" fmla="*/ 289 h 982"/>
                  <a:gd name="T72" fmla="*/ 1039 w 1579"/>
                  <a:gd name="T73" fmla="*/ 229 h 982"/>
                  <a:gd name="T74" fmla="*/ 1054 w 1579"/>
                  <a:gd name="T75" fmla="*/ 254 h 982"/>
                  <a:gd name="T76" fmla="*/ 1260 w 1579"/>
                  <a:gd name="T77" fmla="*/ 161 h 982"/>
                  <a:gd name="T78" fmla="*/ 1391 w 1579"/>
                  <a:gd name="T79" fmla="*/ 171 h 982"/>
                  <a:gd name="T80" fmla="*/ 1564 w 1579"/>
                  <a:gd name="T81" fmla="*/ 260 h 982"/>
                  <a:gd name="T82" fmla="*/ 1414 w 1579"/>
                  <a:gd name="T83" fmla="*/ 506 h 982"/>
                  <a:gd name="T84" fmla="*/ 1382 w 1579"/>
                  <a:gd name="T85" fmla="*/ 516 h 982"/>
                  <a:gd name="T86" fmla="*/ 1326 w 1579"/>
                  <a:gd name="T87" fmla="*/ 542 h 982"/>
                  <a:gd name="T88" fmla="*/ 955 w 1579"/>
                  <a:gd name="T89" fmla="*/ 698 h 982"/>
                  <a:gd name="T90" fmla="*/ 1017 w 1579"/>
                  <a:gd name="T91" fmla="*/ 663 h 982"/>
                  <a:gd name="T92" fmla="*/ 734 w 1579"/>
                  <a:gd name="T93" fmla="*/ 758 h 982"/>
                  <a:gd name="T94" fmla="*/ 684 w 1579"/>
                  <a:gd name="T95" fmla="*/ 865 h 982"/>
                  <a:gd name="T96" fmla="*/ 577 w 1579"/>
                  <a:gd name="T97" fmla="*/ 926 h 982"/>
                  <a:gd name="T98" fmla="*/ 514 w 1579"/>
                  <a:gd name="T99" fmla="*/ 886 h 982"/>
                  <a:gd name="T100" fmla="*/ 641 w 1579"/>
                  <a:gd name="T101" fmla="*/ 756 h 982"/>
                  <a:gd name="T102" fmla="*/ 1100 w 1579"/>
                  <a:gd name="T103" fmla="*/ 559 h 982"/>
                  <a:gd name="T104" fmla="*/ 1422 w 1579"/>
                  <a:gd name="T105" fmla="*/ 401 h 982"/>
                  <a:gd name="T106" fmla="*/ 1325 w 1579"/>
                  <a:gd name="T107" fmla="*/ 243 h 982"/>
                  <a:gd name="T108" fmla="*/ 1143 w 1579"/>
                  <a:gd name="T109" fmla="*/ 308 h 982"/>
                  <a:gd name="T110" fmla="*/ 1085 w 1579"/>
                  <a:gd name="T111" fmla="*/ 323 h 982"/>
                  <a:gd name="T112" fmla="*/ 735 w 1579"/>
                  <a:gd name="T113" fmla="*/ 455 h 982"/>
                  <a:gd name="T114" fmla="*/ 515 w 1579"/>
                  <a:gd name="T115" fmla="*/ 538 h 982"/>
                  <a:gd name="T116" fmla="*/ 77 w 1579"/>
                  <a:gd name="T117" fmla="*/ 631 h 982"/>
                  <a:gd name="T118" fmla="*/ 92 w 1579"/>
                  <a:gd name="T119" fmla="*/ 416 h 982"/>
                  <a:gd name="T120" fmla="*/ 445 w 1579"/>
                  <a:gd name="T121" fmla="*/ 126 h 982"/>
                  <a:gd name="T122" fmla="*/ 656 w 1579"/>
                  <a:gd name="T123" fmla="*/ 35 h 982"/>
                  <a:gd name="T124" fmla="*/ 731 w 1579"/>
                  <a:gd name="T125" fmla="*/ 23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9" h="982">
                    <a:moveTo>
                      <a:pt x="536" y="928"/>
                    </a:moveTo>
                    <a:lnTo>
                      <a:pt x="532" y="928"/>
                    </a:lnTo>
                    <a:lnTo>
                      <a:pt x="529" y="928"/>
                    </a:lnTo>
                    <a:lnTo>
                      <a:pt x="518" y="941"/>
                    </a:lnTo>
                    <a:lnTo>
                      <a:pt x="534" y="937"/>
                    </a:lnTo>
                    <a:lnTo>
                      <a:pt x="536" y="928"/>
                    </a:lnTo>
                    <a:close/>
                    <a:moveTo>
                      <a:pt x="536" y="920"/>
                    </a:moveTo>
                    <a:lnTo>
                      <a:pt x="533" y="924"/>
                    </a:lnTo>
                    <a:lnTo>
                      <a:pt x="536" y="924"/>
                    </a:lnTo>
                    <a:lnTo>
                      <a:pt x="536" y="920"/>
                    </a:lnTo>
                    <a:close/>
                    <a:moveTo>
                      <a:pt x="564" y="916"/>
                    </a:moveTo>
                    <a:lnTo>
                      <a:pt x="556" y="925"/>
                    </a:lnTo>
                    <a:lnTo>
                      <a:pt x="567" y="924"/>
                    </a:lnTo>
                    <a:lnTo>
                      <a:pt x="573" y="921"/>
                    </a:lnTo>
                    <a:lnTo>
                      <a:pt x="569" y="917"/>
                    </a:lnTo>
                    <a:lnTo>
                      <a:pt x="564" y="916"/>
                    </a:lnTo>
                    <a:close/>
                    <a:moveTo>
                      <a:pt x="519" y="913"/>
                    </a:moveTo>
                    <a:lnTo>
                      <a:pt x="518" y="913"/>
                    </a:lnTo>
                    <a:lnTo>
                      <a:pt x="492" y="941"/>
                    </a:lnTo>
                    <a:lnTo>
                      <a:pt x="496" y="949"/>
                    </a:lnTo>
                    <a:lnTo>
                      <a:pt x="502" y="951"/>
                    </a:lnTo>
                    <a:lnTo>
                      <a:pt x="507" y="947"/>
                    </a:lnTo>
                    <a:lnTo>
                      <a:pt x="514" y="940"/>
                    </a:lnTo>
                    <a:lnTo>
                      <a:pt x="519" y="931"/>
                    </a:lnTo>
                    <a:lnTo>
                      <a:pt x="515" y="917"/>
                    </a:lnTo>
                    <a:lnTo>
                      <a:pt x="525" y="922"/>
                    </a:lnTo>
                    <a:lnTo>
                      <a:pt x="526" y="921"/>
                    </a:lnTo>
                    <a:lnTo>
                      <a:pt x="532" y="914"/>
                    </a:lnTo>
                    <a:lnTo>
                      <a:pt x="525" y="914"/>
                    </a:lnTo>
                    <a:lnTo>
                      <a:pt x="519" y="913"/>
                    </a:lnTo>
                    <a:close/>
                    <a:moveTo>
                      <a:pt x="545" y="889"/>
                    </a:moveTo>
                    <a:lnTo>
                      <a:pt x="521" y="912"/>
                    </a:lnTo>
                    <a:lnTo>
                      <a:pt x="533" y="912"/>
                    </a:lnTo>
                    <a:lnTo>
                      <a:pt x="538" y="906"/>
                    </a:lnTo>
                    <a:lnTo>
                      <a:pt x="541" y="904"/>
                    </a:lnTo>
                    <a:lnTo>
                      <a:pt x="540" y="904"/>
                    </a:lnTo>
                    <a:lnTo>
                      <a:pt x="538" y="905"/>
                    </a:lnTo>
                    <a:lnTo>
                      <a:pt x="537" y="906"/>
                    </a:lnTo>
                    <a:lnTo>
                      <a:pt x="537" y="906"/>
                    </a:lnTo>
                    <a:lnTo>
                      <a:pt x="537" y="905"/>
                    </a:lnTo>
                    <a:lnTo>
                      <a:pt x="538" y="902"/>
                    </a:lnTo>
                    <a:lnTo>
                      <a:pt x="540" y="900"/>
                    </a:lnTo>
                    <a:lnTo>
                      <a:pt x="542" y="894"/>
                    </a:lnTo>
                    <a:lnTo>
                      <a:pt x="545" y="889"/>
                    </a:lnTo>
                    <a:close/>
                    <a:moveTo>
                      <a:pt x="611" y="862"/>
                    </a:moveTo>
                    <a:lnTo>
                      <a:pt x="608" y="865"/>
                    </a:lnTo>
                    <a:lnTo>
                      <a:pt x="603" y="870"/>
                    </a:lnTo>
                    <a:lnTo>
                      <a:pt x="596" y="879"/>
                    </a:lnTo>
                    <a:lnTo>
                      <a:pt x="584" y="893"/>
                    </a:lnTo>
                    <a:lnTo>
                      <a:pt x="571" y="909"/>
                    </a:lnTo>
                    <a:lnTo>
                      <a:pt x="573" y="908"/>
                    </a:lnTo>
                    <a:lnTo>
                      <a:pt x="587" y="905"/>
                    </a:lnTo>
                    <a:lnTo>
                      <a:pt x="599" y="900"/>
                    </a:lnTo>
                    <a:lnTo>
                      <a:pt x="613" y="897"/>
                    </a:lnTo>
                    <a:lnTo>
                      <a:pt x="629" y="893"/>
                    </a:lnTo>
                    <a:lnTo>
                      <a:pt x="648" y="892"/>
                    </a:lnTo>
                    <a:lnTo>
                      <a:pt x="640" y="897"/>
                    </a:lnTo>
                    <a:lnTo>
                      <a:pt x="657" y="896"/>
                    </a:lnTo>
                    <a:lnTo>
                      <a:pt x="667" y="894"/>
                    </a:lnTo>
                    <a:lnTo>
                      <a:pt x="672" y="893"/>
                    </a:lnTo>
                    <a:lnTo>
                      <a:pt x="672" y="892"/>
                    </a:lnTo>
                    <a:lnTo>
                      <a:pt x="667" y="889"/>
                    </a:lnTo>
                    <a:lnTo>
                      <a:pt x="658" y="885"/>
                    </a:lnTo>
                    <a:lnTo>
                      <a:pt x="649" y="879"/>
                    </a:lnTo>
                    <a:lnTo>
                      <a:pt x="638" y="871"/>
                    </a:lnTo>
                    <a:lnTo>
                      <a:pt x="641" y="874"/>
                    </a:lnTo>
                    <a:lnTo>
                      <a:pt x="642" y="878"/>
                    </a:lnTo>
                    <a:lnTo>
                      <a:pt x="642" y="879"/>
                    </a:lnTo>
                    <a:lnTo>
                      <a:pt x="641" y="881"/>
                    </a:lnTo>
                    <a:lnTo>
                      <a:pt x="638" y="882"/>
                    </a:lnTo>
                    <a:lnTo>
                      <a:pt x="626" y="873"/>
                    </a:lnTo>
                    <a:lnTo>
                      <a:pt x="618" y="867"/>
                    </a:lnTo>
                    <a:lnTo>
                      <a:pt x="614" y="863"/>
                    </a:lnTo>
                    <a:lnTo>
                      <a:pt x="611" y="862"/>
                    </a:lnTo>
                    <a:close/>
                    <a:moveTo>
                      <a:pt x="525" y="859"/>
                    </a:moveTo>
                    <a:lnTo>
                      <a:pt x="519" y="865"/>
                    </a:lnTo>
                    <a:lnTo>
                      <a:pt x="519" y="865"/>
                    </a:lnTo>
                    <a:lnTo>
                      <a:pt x="521" y="862"/>
                    </a:lnTo>
                    <a:lnTo>
                      <a:pt x="525" y="859"/>
                    </a:lnTo>
                    <a:close/>
                    <a:moveTo>
                      <a:pt x="600" y="851"/>
                    </a:moveTo>
                    <a:lnTo>
                      <a:pt x="596" y="857"/>
                    </a:lnTo>
                    <a:lnTo>
                      <a:pt x="584" y="866"/>
                    </a:lnTo>
                    <a:lnTo>
                      <a:pt x="584" y="867"/>
                    </a:lnTo>
                    <a:lnTo>
                      <a:pt x="580" y="877"/>
                    </a:lnTo>
                    <a:lnTo>
                      <a:pt x="591" y="867"/>
                    </a:lnTo>
                    <a:lnTo>
                      <a:pt x="598" y="855"/>
                    </a:lnTo>
                    <a:lnTo>
                      <a:pt x="600" y="851"/>
                    </a:lnTo>
                    <a:close/>
                    <a:moveTo>
                      <a:pt x="607" y="844"/>
                    </a:moveTo>
                    <a:lnTo>
                      <a:pt x="602" y="850"/>
                    </a:lnTo>
                    <a:lnTo>
                      <a:pt x="600" y="853"/>
                    </a:lnTo>
                    <a:lnTo>
                      <a:pt x="599" y="855"/>
                    </a:lnTo>
                    <a:lnTo>
                      <a:pt x="599" y="859"/>
                    </a:lnTo>
                    <a:lnTo>
                      <a:pt x="600" y="862"/>
                    </a:lnTo>
                    <a:lnTo>
                      <a:pt x="602" y="861"/>
                    </a:lnTo>
                    <a:lnTo>
                      <a:pt x="606" y="855"/>
                    </a:lnTo>
                    <a:lnTo>
                      <a:pt x="608" y="850"/>
                    </a:lnTo>
                    <a:lnTo>
                      <a:pt x="610" y="846"/>
                    </a:lnTo>
                    <a:lnTo>
                      <a:pt x="607" y="844"/>
                    </a:lnTo>
                    <a:close/>
                    <a:moveTo>
                      <a:pt x="671" y="777"/>
                    </a:moveTo>
                    <a:lnTo>
                      <a:pt x="658" y="787"/>
                    </a:lnTo>
                    <a:lnTo>
                      <a:pt x="679" y="777"/>
                    </a:lnTo>
                    <a:lnTo>
                      <a:pt x="671" y="777"/>
                    </a:lnTo>
                    <a:close/>
                    <a:moveTo>
                      <a:pt x="699" y="730"/>
                    </a:moveTo>
                    <a:lnTo>
                      <a:pt x="698" y="730"/>
                    </a:lnTo>
                    <a:lnTo>
                      <a:pt x="695" y="733"/>
                    </a:lnTo>
                    <a:lnTo>
                      <a:pt x="692" y="734"/>
                    </a:lnTo>
                    <a:lnTo>
                      <a:pt x="688" y="736"/>
                    </a:lnTo>
                    <a:lnTo>
                      <a:pt x="685" y="738"/>
                    </a:lnTo>
                    <a:lnTo>
                      <a:pt x="683" y="740"/>
                    </a:lnTo>
                    <a:lnTo>
                      <a:pt x="680" y="741"/>
                    </a:lnTo>
                    <a:lnTo>
                      <a:pt x="679" y="741"/>
                    </a:lnTo>
                    <a:lnTo>
                      <a:pt x="677" y="741"/>
                    </a:lnTo>
                    <a:lnTo>
                      <a:pt x="677" y="741"/>
                    </a:lnTo>
                    <a:lnTo>
                      <a:pt x="679" y="738"/>
                    </a:lnTo>
                    <a:lnTo>
                      <a:pt x="676" y="740"/>
                    </a:lnTo>
                    <a:lnTo>
                      <a:pt x="675" y="742"/>
                    </a:lnTo>
                    <a:lnTo>
                      <a:pt x="672" y="744"/>
                    </a:lnTo>
                    <a:lnTo>
                      <a:pt x="671" y="745"/>
                    </a:lnTo>
                    <a:lnTo>
                      <a:pt x="669" y="746"/>
                    </a:lnTo>
                    <a:lnTo>
                      <a:pt x="669" y="748"/>
                    </a:lnTo>
                    <a:lnTo>
                      <a:pt x="671" y="748"/>
                    </a:lnTo>
                    <a:lnTo>
                      <a:pt x="684" y="738"/>
                    </a:lnTo>
                    <a:lnTo>
                      <a:pt x="699" y="730"/>
                    </a:lnTo>
                    <a:close/>
                    <a:moveTo>
                      <a:pt x="947" y="648"/>
                    </a:moveTo>
                    <a:lnTo>
                      <a:pt x="945" y="651"/>
                    </a:lnTo>
                    <a:lnTo>
                      <a:pt x="942" y="652"/>
                    </a:lnTo>
                    <a:lnTo>
                      <a:pt x="939" y="655"/>
                    </a:lnTo>
                    <a:lnTo>
                      <a:pt x="928" y="662"/>
                    </a:lnTo>
                    <a:lnTo>
                      <a:pt x="916" y="666"/>
                    </a:lnTo>
                    <a:lnTo>
                      <a:pt x="905" y="667"/>
                    </a:lnTo>
                    <a:lnTo>
                      <a:pt x="912" y="662"/>
                    </a:lnTo>
                    <a:lnTo>
                      <a:pt x="922" y="656"/>
                    </a:lnTo>
                    <a:lnTo>
                      <a:pt x="930" y="651"/>
                    </a:lnTo>
                    <a:lnTo>
                      <a:pt x="920" y="652"/>
                    </a:lnTo>
                    <a:lnTo>
                      <a:pt x="909" y="656"/>
                    </a:lnTo>
                    <a:lnTo>
                      <a:pt x="899" y="662"/>
                    </a:lnTo>
                    <a:lnTo>
                      <a:pt x="889" y="668"/>
                    </a:lnTo>
                    <a:lnTo>
                      <a:pt x="880" y="674"/>
                    </a:lnTo>
                    <a:lnTo>
                      <a:pt x="872" y="678"/>
                    </a:lnTo>
                    <a:lnTo>
                      <a:pt x="866" y="678"/>
                    </a:lnTo>
                    <a:lnTo>
                      <a:pt x="864" y="675"/>
                    </a:lnTo>
                    <a:lnTo>
                      <a:pt x="864" y="666"/>
                    </a:lnTo>
                    <a:lnTo>
                      <a:pt x="858" y="670"/>
                    </a:lnTo>
                    <a:lnTo>
                      <a:pt x="851" y="675"/>
                    </a:lnTo>
                    <a:lnTo>
                      <a:pt x="845" y="680"/>
                    </a:lnTo>
                    <a:lnTo>
                      <a:pt x="838" y="686"/>
                    </a:lnTo>
                    <a:lnTo>
                      <a:pt x="834" y="691"/>
                    </a:lnTo>
                    <a:lnTo>
                      <a:pt x="832" y="694"/>
                    </a:lnTo>
                    <a:lnTo>
                      <a:pt x="837" y="695"/>
                    </a:lnTo>
                    <a:lnTo>
                      <a:pt x="851" y="688"/>
                    </a:lnTo>
                    <a:lnTo>
                      <a:pt x="870" y="682"/>
                    </a:lnTo>
                    <a:lnTo>
                      <a:pt x="889" y="675"/>
                    </a:lnTo>
                    <a:lnTo>
                      <a:pt x="909" y="670"/>
                    </a:lnTo>
                    <a:lnTo>
                      <a:pt x="927" y="664"/>
                    </a:lnTo>
                    <a:lnTo>
                      <a:pt x="940" y="662"/>
                    </a:lnTo>
                    <a:lnTo>
                      <a:pt x="943" y="663"/>
                    </a:lnTo>
                    <a:lnTo>
                      <a:pt x="946" y="663"/>
                    </a:lnTo>
                    <a:lnTo>
                      <a:pt x="950" y="662"/>
                    </a:lnTo>
                    <a:lnTo>
                      <a:pt x="947" y="662"/>
                    </a:lnTo>
                    <a:lnTo>
                      <a:pt x="945" y="662"/>
                    </a:lnTo>
                    <a:lnTo>
                      <a:pt x="940" y="662"/>
                    </a:lnTo>
                    <a:lnTo>
                      <a:pt x="939" y="660"/>
                    </a:lnTo>
                    <a:lnTo>
                      <a:pt x="939" y="659"/>
                    </a:lnTo>
                    <a:lnTo>
                      <a:pt x="939" y="655"/>
                    </a:lnTo>
                    <a:lnTo>
                      <a:pt x="943" y="654"/>
                    </a:lnTo>
                    <a:lnTo>
                      <a:pt x="946" y="651"/>
                    </a:lnTo>
                    <a:lnTo>
                      <a:pt x="947" y="648"/>
                    </a:lnTo>
                    <a:close/>
                    <a:moveTo>
                      <a:pt x="78" y="633"/>
                    </a:moveTo>
                    <a:lnTo>
                      <a:pt x="77" y="633"/>
                    </a:lnTo>
                    <a:lnTo>
                      <a:pt x="74" y="633"/>
                    </a:lnTo>
                    <a:lnTo>
                      <a:pt x="73" y="633"/>
                    </a:lnTo>
                    <a:lnTo>
                      <a:pt x="74" y="633"/>
                    </a:lnTo>
                    <a:lnTo>
                      <a:pt x="78" y="633"/>
                    </a:lnTo>
                    <a:close/>
                    <a:moveTo>
                      <a:pt x="81" y="632"/>
                    </a:moveTo>
                    <a:lnTo>
                      <a:pt x="81" y="632"/>
                    </a:lnTo>
                    <a:lnTo>
                      <a:pt x="78" y="633"/>
                    </a:lnTo>
                    <a:lnTo>
                      <a:pt x="78" y="632"/>
                    </a:lnTo>
                    <a:lnTo>
                      <a:pt x="78" y="632"/>
                    </a:lnTo>
                    <a:lnTo>
                      <a:pt x="81" y="632"/>
                    </a:lnTo>
                    <a:close/>
                    <a:moveTo>
                      <a:pt x="82" y="632"/>
                    </a:moveTo>
                    <a:lnTo>
                      <a:pt x="82" y="632"/>
                    </a:lnTo>
                    <a:lnTo>
                      <a:pt x="81" y="632"/>
                    </a:lnTo>
                    <a:lnTo>
                      <a:pt x="82" y="632"/>
                    </a:lnTo>
                    <a:close/>
                    <a:moveTo>
                      <a:pt x="58" y="629"/>
                    </a:moveTo>
                    <a:lnTo>
                      <a:pt x="61" y="629"/>
                    </a:lnTo>
                    <a:lnTo>
                      <a:pt x="74" y="632"/>
                    </a:lnTo>
                    <a:lnTo>
                      <a:pt x="78" y="632"/>
                    </a:lnTo>
                    <a:lnTo>
                      <a:pt x="78" y="632"/>
                    </a:lnTo>
                    <a:lnTo>
                      <a:pt x="78" y="632"/>
                    </a:lnTo>
                    <a:lnTo>
                      <a:pt x="61" y="631"/>
                    </a:lnTo>
                    <a:lnTo>
                      <a:pt x="58" y="629"/>
                    </a:lnTo>
                    <a:close/>
                    <a:moveTo>
                      <a:pt x="162" y="588"/>
                    </a:moveTo>
                    <a:lnTo>
                      <a:pt x="156" y="589"/>
                    </a:lnTo>
                    <a:lnTo>
                      <a:pt x="152" y="589"/>
                    </a:lnTo>
                    <a:lnTo>
                      <a:pt x="150" y="590"/>
                    </a:lnTo>
                    <a:lnTo>
                      <a:pt x="139" y="590"/>
                    </a:lnTo>
                    <a:lnTo>
                      <a:pt x="127" y="592"/>
                    </a:lnTo>
                    <a:lnTo>
                      <a:pt x="117" y="593"/>
                    </a:lnTo>
                    <a:lnTo>
                      <a:pt x="109" y="594"/>
                    </a:lnTo>
                    <a:lnTo>
                      <a:pt x="105" y="598"/>
                    </a:lnTo>
                    <a:lnTo>
                      <a:pt x="113" y="597"/>
                    </a:lnTo>
                    <a:lnTo>
                      <a:pt x="124" y="597"/>
                    </a:lnTo>
                    <a:lnTo>
                      <a:pt x="135" y="597"/>
                    </a:lnTo>
                    <a:lnTo>
                      <a:pt x="143" y="598"/>
                    </a:lnTo>
                    <a:lnTo>
                      <a:pt x="146" y="601"/>
                    </a:lnTo>
                    <a:lnTo>
                      <a:pt x="132" y="604"/>
                    </a:lnTo>
                    <a:lnTo>
                      <a:pt x="158" y="601"/>
                    </a:lnTo>
                    <a:lnTo>
                      <a:pt x="148" y="598"/>
                    </a:lnTo>
                    <a:lnTo>
                      <a:pt x="148" y="597"/>
                    </a:lnTo>
                    <a:lnTo>
                      <a:pt x="147" y="596"/>
                    </a:lnTo>
                    <a:lnTo>
                      <a:pt x="147" y="594"/>
                    </a:lnTo>
                    <a:lnTo>
                      <a:pt x="147" y="593"/>
                    </a:lnTo>
                    <a:lnTo>
                      <a:pt x="147" y="590"/>
                    </a:lnTo>
                    <a:lnTo>
                      <a:pt x="150" y="590"/>
                    </a:lnTo>
                    <a:lnTo>
                      <a:pt x="162" y="588"/>
                    </a:lnTo>
                    <a:close/>
                    <a:moveTo>
                      <a:pt x="374" y="565"/>
                    </a:moveTo>
                    <a:lnTo>
                      <a:pt x="363" y="569"/>
                    </a:lnTo>
                    <a:lnTo>
                      <a:pt x="355" y="572"/>
                    </a:lnTo>
                    <a:lnTo>
                      <a:pt x="345" y="573"/>
                    </a:lnTo>
                    <a:lnTo>
                      <a:pt x="339" y="576"/>
                    </a:lnTo>
                    <a:lnTo>
                      <a:pt x="330" y="582"/>
                    </a:lnTo>
                    <a:lnTo>
                      <a:pt x="343" y="584"/>
                    </a:lnTo>
                    <a:lnTo>
                      <a:pt x="353" y="581"/>
                    </a:lnTo>
                    <a:lnTo>
                      <a:pt x="362" y="576"/>
                    </a:lnTo>
                    <a:lnTo>
                      <a:pt x="368" y="570"/>
                    </a:lnTo>
                    <a:lnTo>
                      <a:pt x="374" y="565"/>
                    </a:lnTo>
                    <a:close/>
                    <a:moveTo>
                      <a:pt x="321" y="559"/>
                    </a:moveTo>
                    <a:lnTo>
                      <a:pt x="309" y="559"/>
                    </a:lnTo>
                    <a:lnTo>
                      <a:pt x="302" y="562"/>
                    </a:lnTo>
                    <a:lnTo>
                      <a:pt x="298" y="566"/>
                    </a:lnTo>
                    <a:lnTo>
                      <a:pt x="295" y="570"/>
                    </a:lnTo>
                    <a:lnTo>
                      <a:pt x="291" y="574"/>
                    </a:lnTo>
                    <a:lnTo>
                      <a:pt x="283" y="576"/>
                    </a:lnTo>
                    <a:lnTo>
                      <a:pt x="297" y="574"/>
                    </a:lnTo>
                    <a:lnTo>
                      <a:pt x="299" y="576"/>
                    </a:lnTo>
                    <a:lnTo>
                      <a:pt x="299" y="577"/>
                    </a:lnTo>
                    <a:lnTo>
                      <a:pt x="298" y="578"/>
                    </a:lnTo>
                    <a:lnTo>
                      <a:pt x="295" y="580"/>
                    </a:lnTo>
                    <a:lnTo>
                      <a:pt x="291" y="582"/>
                    </a:lnTo>
                    <a:lnTo>
                      <a:pt x="287" y="584"/>
                    </a:lnTo>
                    <a:lnTo>
                      <a:pt x="283" y="585"/>
                    </a:lnTo>
                    <a:lnTo>
                      <a:pt x="281" y="586"/>
                    </a:lnTo>
                    <a:lnTo>
                      <a:pt x="278" y="589"/>
                    </a:lnTo>
                    <a:lnTo>
                      <a:pt x="277" y="590"/>
                    </a:lnTo>
                    <a:lnTo>
                      <a:pt x="286" y="589"/>
                    </a:lnTo>
                    <a:lnTo>
                      <a:pt x="297" y="586"/>
                    </a:lnTo>
                    <a:lnTo>
                      <a:pt x="306" y="582"/>
                    </a:lnTo>
                    <a:lnTo>
                      <a:pt x="313" y="580"/>
                    </a:lnTo>
                    <a:lnTo>
                      <a:pt x="317" y="577"/>
                    </a:lnTo>
                    <a:lnTo>
                      <a:pt x="313" y="577"/>
                    </a:lnTo>
                    <a:lnTo>
                      <a:pt x="308" y="577"/>
                    </a:lnTo>
                    <a:lnTo>
                      <a:pt x="303" y="577"/>
                    </a:lnTo>
                    <a:lnTo>
                      <a:pt x="302" y="577"/>
                    </a:lnTo>
                    <a:lnTo>
                      <a:pt x="301" y="577"/>
                    </a:lnTo>
                    <a:lnTo>
                      <a:pt x="301" y="576"/>
                    </a:lnTo>
                    <a:lnTo>
                      <a:pt x="301" y="574"/>
                    </a:lnTo>
                    <a:lnTo>
                      <a:pt x="302" y="573"/>
                    </a:lnTo>
                    <a:lnTo>
                      <a:pt x="303" y="572"/>
                    </a:lnTo>
                    <a:lnTo>
                      <a:pt x="306" y="569"/>
                    </a:lnTo>
                    <a:lnTo>
                      <a:pt x="308" y="567"/>
                    </a:lnTo>
                    <a:lnTo>
                      <a:pt x="309" y="566"/>
                    </a:lnTo>
                    <a:lnTo>
                      <a:pt x="310" y="565"/>
                    </a:lnTo>
                    <a:lnTo>
                      <a:pt x="310" y="563"/>
                    </a:lnTo>
                    <a:lnTo>
                      <a:pt x="309" y="563"/>
                    </a:lnTo>
                    <a:lnTo>
                      <a:pt x="308" y="563"/>
                    </a:lnTo>
                    <a:lnTo>
                      <a:pt x="303" y="563"/>
                    </a:lnTo>
                    <a:lnTo>
                      <a:pt x="321" y="559"/>
                    </a:lnTo>
                    <a:close/>
                    <a:moveTo>
                      <a:pt x="74" y="545"/>
                    </a:moveTo>
                    <a:lnTo>
                      <a:pt x="73" y="546"/>
                    </a:lnTo>
                    <a:lnTo>
                      <a:pt x="74" y="550"/>
                    </a:lnTo>
                    <a:lnTo>
                      <a:pt x="75" y="551"/>
                    </a:lnTo>
                    <a:lnTo>
                      <a:pt x="78" y="551"/>
                    </a:lnTo>
                    <a:lnTo>
                      <a:pt x="84" y="553"/>
                    </a:lnTo>
                    <a:lnTo>
                      <a:pt x="90" y="554"/>
                    </a:lnTo>
                    <a:lnTo>
                      <a:pt x="98" y="557"/>
                    </a:lnTo>
                    <a:lnTo>
                      <a:pt x="105" y="558"/>
                    </a:lnTo>
                    <a:lnTo>
                      <a:pt x="109" y="559"/>
                    </a:lnTo>
                    <a:lnTo>
                      <a:pt x="109" y="561"/>
                    </a:lnTo>
                    <a:lnTo>
                      <a:pt x="111" y="559"/>
                    </a:lnTo>
                    <a:lnTo>
                      <a:pt x="108" y="557"/>
                    </a:lnTo>
                    <a:lnTo>
                      <a:pt x="102" y="554"/>
                    </a:lnTo>
                    <a:lnTo>
                      <a:pt x="94" y="551"/>
                    </a:lnTo>
                    <a:lnTo>
                      <a:pt x="86" y="547"/>
                    </a:lnTo>
                    <a:lnTo>
                      <a:pt x="79" y="546"/>
                    </a:lnTo>
                    <a:lnTo>
                      <a:pt x="74" y="545"/>
                    </a:lnTo>
                    <a:close/>
                    <a:moveTo>
                      <a:pt x="444" y="508"/>
                    </a:moveTo>
                    <a:lnTo>
                      <a:pt x="403" y="533"/>
                    </a:lnTo>
                    <a:lnTo>
                      <a:pt x="430" y="524"/>
                    </a:lnTo>
                    <a:lnTo>
                      <a:pt x="444" y="508"/>
                    </a:lnTo>
                    <a:close/>
                    <a:moveTo>
                      <a:pt x="1235" y="502"/>
                    </a:moveTo>
                    <a:lnTo>
                      <a:pt x="1229" y="504"/>
                    </a:lnTo>
                    <a:lnTo>
                      <a:pt x="1225" y="506"/>
                    </a:lnTo>
                    <a:lnTo>
                      <a:pt x="1222" y="508"/>
                    </a:lnTo>
                    <a:lnTo>
                      <a:pt x="1222" y="510"/>
                    </a:lnTo>
                    <a:lnTo>
                      <a:pt x="1222" y="510"/>
                    </a:lnTo>
                    <a:lnTo>
                      <a:pt x="1222" y="511"/>
                    </a:lnTo>
                    <a:lnTo>
                      <a:pt x="1213" y="519"/>
                    </a:lnTo>
                    <a:lnTo>
                      <a:pt x="1220" y="518"/>
                    </a:lnTo>
                    <a:lnTo>
                      <a:pt x="1225" y="516"/>
                    </a:lnTo>
                    <a:lnTo>
                      <a:pt x="1228" y="515"/>
                    </a:lnTo>
                    <a:lnTo>
                      <a:pt x="1231" y="514"/>
                    </a:lnTo>
                    <a:lnTo>
                      <a:pt x="1231" y="514"/>
                    </a:lnTo>
                    <a:lnTo>
                      <a:pt x="1231" y="512"/>
                    </a:lnTo>
                    <a:lnTo>
                      <a:pt x="1231" y="512"/>
                    </a:lnTo>
                    <a:lnTo>
                      <a:pt x="1229" y="512"/>
                    </a:lnTo>
                    <a:lnTo>
                      <a:pt x="1228" y="512"/>
                    </a:lnTo>
                    <a:lnTo>
                      <a:pt x="1227" y="511"/>
                    </a:lnTo>
                    <a:lnTo>
                      <a:pt x="1224" y="511"/>
                    </a:lnTo>
                    <a:lnTo>
                      <a:pt x="1222" y="511"/>
                    </a:lnTo>
                    <a:lnTo>
                      <a:pt x="1235" y="502"/>
                    </a:lnTo>
                    <a:close/>
                    <a:moveTo>
                      <a:pt x="1321" y="499"/>
                    </a:moveTo>
                    <a:lnTo>
                      <a:pt x="1317" y="503"/>
                    </a:lnTo>
                    <a:lnTo>
                      <a:pt x="1314" y="504"/>
                    </a:lnTo>
                    <a:lnTo>
                      <a:pt x="1313" y="507"/>
                    </a:lnTo>
                    <a:lnTo>
                      <a:pt x="1312" y="508"/>
                    </a:lnTo>
                    <a:lnTo>
                      <a:pt x="1312" y="510"/>
                    </a:lnTo>
                    <a:lnTo>
                      <a:pt x="1312" y="510"/>
                    </a:lnTo>
                    <a:lnTo>
                      <a:pt x="1313" y="511"/>
                    </a:lnTo>
                    <a:lnTo>
                      <a:pt x="1313" y="511"/>
                    </a:lnTo>
                    <a:lnTo>
                      <a:pt x="1314" y="512"/>
                    </a:lnTo>
                    <a:lnTo>
                      <a:pt x="1314" y="512"/>
                    </a:lnTo>
                    <a:lnTo>
                      <a:pt x="1313" y="514"/>
                    </a:lnTo>
                    <a:lnTo>
                      <a:pt x="1298" y="524"/>
                    </a:lnTo>
                    <a:lnTo>
                      <a:pt x="1303" y="522"/>
                    </a:lnTo>
                    <a:lnTo>
                      <a:pt x="1308" y="519"/>
                    </a:lnTo>
                    <a:lnTo>
                      <a:pt x="1310" y="516"/>
                    </a:lnTo>
                    <a:lnTo>
                      <a:pt x="1312" y="515"/>
                    </a:lnTo>
                    <a:lnTo>
                      <a:pt x="1313" y="514"/>
                    </a:lnTo>
                    <a:lnTo>
                      <a:pt x="1317" y="511"/>
                    </a:lnTo>
                    <a:lnTo>
                      <a:pt x="1320" y="508"/>
                    </a:lnTo>
                    <a:lnTo>
                      <a:pt x="1322" y="506"/>
                    </a:lnTo>
                    <a:lnTo>
                      <a:pt x="1322" y="503"/>
                    </a:lnTo>
                    <a:lnTo>
                      <a:pt x="1322" y="500"/>
                    </a:lnTo>
                    <a:lnTo>
                      <a:pt x="1321" y="499"/>
                    </a:lnTo>
                    <a:close/>
                    <a:moveTo>
                      <a:pt x="1361" y="496"/>
                    </a:moveTo>
                    <a:lnTo>
                      <a:pt x="1332" y="516"/>
                    </a:lnTo>
                    <a:lnTo>
                      <a:pt x="1345" y="503"/>
                    </a:lnTo>
                    <a:lnTo>
                      <a:pt x="1302" y="538"/>
                    </a:lnTo>
                    <a:lnTo>
                      <a:pt x="1320" y="531"/>
                    </a:lnTo>
                    <a:lnTo>
                      <a:pt x="1336" y="522"/>
                    </a:lnTo>
                    <a:lnTo>
                      <a:pt x="1349" y="512"/>
                    </a:lnTo>
                    <a:lnTo>
                      <a:pt x="1357" y="503"/>
                    </a:lnTo>
                    <a:lnTo>
                      <a:pt x="1361" y="496"/>
                    </a:lnTo>
                    <a:close/>
                    <a:moveTo>
                      <a:pt x="1282" y="496"/>
                    </a:moveTo>
                    <a:lnTo>
                      <a:pt x="1274" y="498"/>
                    </a:lnTo>
                    <a:lnTo>
                      <a:pt x="1263" y="503"/>
                    </a:lnTo>
                    <a:lnTo>
                      <a:pt x="1251" y="507"/>
                    </a:lnTo>
                    <a:lnTo>
                      <a:pt x="1241" y="512"/>
                    </a:lnTo>
                    <a:lnTo>
                      <a:pt x="1236" y="518"/>
                    </a:lnTo>
                    <a:lnTo>
                      <a:pt x="1244" y="514"/>
                    </a:lnTo>
                    <a:lnTo>
                      <a:pt x="1254" y="510"/>
                    </a:lnTo>
                    <a:lnTo>
                      <a:pt x="1264" y="506"/>
                    </a:lnTo>
                    <a:lnTo>
                      <a:pt x="1275" y="502"/>
                    </a:lnTo>
                    <a:lnTo>
                      <a:pt x="1283" y="499"/>
                    </a:lnTo>
                    <a:lnTo>
                      <a:pt x="1287" y="496"/>
                    </a:lnTo>
                    <a:lnTo>
                      <a:pt x="1287" y="496"/>
                    </a:lnTo>
                    <a:lnTo>
                      <a:pt x="1282" y="496"/>
                    </a:lnTo>
                    <a:close/>
                    <a:moveTo>
                      <a:pt x="128" y="475"/>
                    </a:moveTo>
                    <a:lnTo>
                      <a:pt x="125" y="475"/>
                    </a:lnTo>
                    <a:lnTo>
                      <a:pt x="120" y="479"/>
                    </a:lnTo>
                    <a:lnTo>
                      <a:pt x="115" y="484"/>
                    </a:lnTo>
                    <a:lnTo>
                      <a:pt x="106" y="488"/>
                    </a:lnTo>
                    <a:lnTo>
                      <a:pt x="109" y="488"/>
                    </a:lnTo>
                    <a:lnTo>
                      <a:pt x="109" y="494"/>
                    </a:lnTo>
                    <a:lnTo>
                      <a:pt x="106" y="500"/>
                    </a:lnTo>
                    <a:lnTo>
                      <a:pt x="101" y="510"/>
                    </a:lnTo>
                    <a:lnTo>
                      <a:pt x="93" y="519"/>
                    </a:lnTo>
                    <a:lnTo>
                      <a:pt x="108" y="518"/>
                    </a:lnTo>
                    <a:lnTo>
                      <a:pt x="108" y="514"/>
                    </a:lnTo>
                    <a:lnTo>
                      <a:pt x="111" y="507"/>
                    </a:lnTo>
                    <a:lnTo>
                      <a:pt x="116" y="498"/>
                    </a:lnTo>
                    <a:lnTo>
                      <a:pt x="123" y="489"/>
                    </a:lnTo>
                    <a:lnTo>
                      <a:pt x="128" y="483"/>
                    </a:lnTo>
                    <a:lnTo>
                      <a:pt x="131" y="479"/>
                    </a:lnTo>
                    <a:lnTo>
                      <a:pt x="128" y="475"/>
                    </a:lnTo>
                    <a:close/>
                    <a:moveTo>
                      <a:pt x="1424" y="464"/>
                    </a:moveTo>
                    <a:lnTo>
                      <a:pt x="1399" y="480"/>
                    </a:lnTo>
                    <a:lnTo>
                      <a:pt x="1374" y="495"/>
                    </a:lnTo>
                    <a:lnTo>
                      <a:pt x="1378" y="485"/>
                    </a:lnTo>
                    <a:lnTo>
                      <a:pt x="1371" y="498"/>
                    </a:lnTo>
                    <a:lnTo>
                      <a:pt x="1374" y="495"/>
                    </a:lnTo>
                    <a:lnTo>
                      <a:pt x="1374" y="498"/>
                    </a:lnTo>
                    <a:lnTo>
                      <a:pt x="1399" y="481"/>
                    </a:lnTo>
                    <a:lnTo>
                      <a:pt x="1424" y="464"/>
                    </a:lnTo>
                    <a:close/>
                    <a:moveTo>
                      <a:pt x="1494" y="444"/>
                    </a:moveTo>
                    <a:lnTo>
                      <a:pt x="1492" y="445"/>
                    </a:lnTo>
                    <a:lnTo>
                      <a:pt x="1488" y="448"/>
                    </a:lnTo>
                    <a:lnTo>
                      <a:pt x="1494" y="444"/>
                    </a:lnTo>
                    <a:close/>
                    <a:moveTo>
                      <a:pt x="642" y="440"/>
                    </a:moveTo>
                    <a:lnTo>
                      <a:pt x="622" y="445"/>
                    </a:lnTo>
                    <a:lnTo>
                      <a:pt x="607" y="453"/>
                    </a:lnTo>
                    <a:lnTo>
                      <a:pt x="594" y="463"/>
                    </a:lnTo>
                    <a:lnTo>
                      <a:pt x="583" y="471"/>
                    </a:lnTo>
                    <a:lnTo>
                      <a:pt x="573" y="479"/>
                    </a:lnTo>
                    <a:lnTo>
                      <a:pt x="580" y="475"/>
                    </a:lnTo>
                    <a:lnTo>
                      <a:pt x="588" y="469"/>
                    </a:lnTo>
                    <a:lnTo>
                      <a:pt x="598" y="463"/>
                    </a:lnTo>
                    <a:lnTo>
                      <a:pt x="607" y="457"/>
                    </a:lnTo>
                    <a:lnTo>
                      <a:pt x="614" y="455"/>
                    </a:lnTo>
                    <a:lnTo>
                      <a:pt x="619" y="456"/>
                    </a:lnTo>
                    <a:lnTo>
                      <a:pt x="621" y="461"/>
                    </a:lnTo>
                    <a:lnTo>
                      <a:pt x="625" y="452"/>
                    </a:lnTo>
                    <a:lnTo>
                      <a:pt x="618" y="453"/>
                    </a:lnTo>
                    <a:lnTo>
                      <a:pt x="642" y="440"/>
                    </a:lnTo>
                    <a:close/>
                    <a:moveTo>
                      <a:pt x="77" y="416"/>
                    </a:moveTo>
                    <a:lnTo>
                      <a:pt x="73" y="424"/>
                    </a:lnTo>
                    <a:lnTo>
                      <a:pt x="73" y="422"/>
                    </a:lnTo>
                    <a:lnTo>
                      <a:pt x="74" y="420"/>
                    </a:lnTo>
                    <a:lnTo>
                      <a:pt x="77" y="416"/>
                    </a:lnTo>
                    <a:close/>
                    <a:moveTo>
                      <a:pt x="1449" y="402"/>
                    </a:moveTo>
                    <a:lnTo>
                      <a:pt x="1447" y="406"/>
                    </a:lnTo>
                    <a:lnTo>
                      <a:pt x="1442" y="409"/>
                    </a:lnTo>
                    <a:lnTo>
                      <a:pt x="1440" y="412"/>
                    </a:lnTo>
                    <a:lnTo>
                      <a:pt x="1436" y="414"/>
                    </a:lnTo>
                    <a:lnTo>
                      <a:pt x="1430" y="418"/>
                    </a:lnTo>
                    <a:lnTo>
                      <a:pt x="1424" y="424"/>
                    </a:lnTo>
                    <a:lnTo>
                      <a:pt x="1415" y="432"/>
                    </a:lnTo>
                    <a:lnTo>
                      <a:pt x="1410" y="440"/>
                    </a:lnTo>
                    <a:lnTo>
                      <a:pt x="1407" y="448"/>
                    </a:lnTo>
                    <a:lnTo>
                      <a:pt x="1407" y="450"/>
                    </a:lnTo>
                    <a:lnTo>
                      <a:pt x="1411" y="445"/>
                    </a:lnTo>
                    <a:lnTo>
                      <a:pt x="1417" y="437"/>
                    </a:lnTo>
                    <a:lnTo>
                      <a:pt x="1425" y="429"/>
                    </a:lnTo>
                    <a:lnTo>
                      <a:pt x="1434" y="420"/>
                    </a:lnTo>
                    <a:lnTo>
                      <a:pt x="1442" y="410"/>
                    </a:lnTo>
                    <a:lnTo>
                      <a:pt x="1449" y="402"/>
                    </a:lnTo>
                    <a:close/>
                    <a:moveTo>
                      <a:pt x="658" y="391"/>
                    </a:moveTo>
                    <a:lnTo>
                      <a:pt x="658" y="391"/>
                    </a:lnTo>
                    <a:lnTo>
                      <a:pt x="658" y="393"/>
                    </a:lnTo>
                    <a:lnTo>
                      <a:pt x="658" y="391"/>
                    </a:lnTo>
                    <a:close/>
                    <a:moveTo>
                      <a:pt x="1451" y="389"/>
                    </a:moveTo>
                    <a:lnTo>
                      <a:pt x="1436" y="402"/>
                    </a:lnTo>
                    <a:lnTo>
                      <a:pt x="1420" y="413"/>
                    </a:lnTo>
                    <a:lnTo>
                      <a:pt x="1428" y="409"/>
                    </a:lnTo>
                    <a:lnTo>
                      <a:pt x="1437" y="405"/>
                    </a:lnTo>
                    <a:lnTo>
                      <a:pt x="1445" y="399"/>
                    </a:lnTo>
                    <a:lnTo>
                      <a:pt x="1449" y="394"/>
                    </a:lnTo>
                    <a:lnTo>
                      <a:pt x="1451" y="389"/>
                    </a:lnTo>
                    <a:close/>
                    <a:moveTo>
                      <a:pt x="864" y="379"/>
                    </a:moveTo>
                    <a:lnTo>
                      <a:pt x="853" y="386"/>
                    </a:lnTo>
                    <a:lnTo>
                      <a:pt x="842" y="389"/>
                    </a:lnTo>
                    <a:lnTo>
                      <a:pt x="832" y="390"/>
                    </a:lnTo>
                    <a:lnTo>
                      <a:pt x="824" y="391"/>
                    </a:lnTo>
                    <a:lnTo>
                      <a:pt x="819" y="394"/>
                    </a:lnTo>
                    <a:lnTo>
                      <a:pt x="818" y="399"/>
                    </a:lnTo>
                    <a:lnTo>
                      <a:pt x="823" y="397"/>
                    </a:lnTo>
                    <a:lnTo>
                      <a:pt x="827" y="394"/>
                    </a:lnTo>
                    <a:lnTo>
                      <a:pt x="831" y="393"/>
                    </a:lnTo>
                    <a:lnTo>
                      <a:pt x="835" y="391"/>
                    </a:lnTo>
                    <a:lnTo>
                      <a:pt x="834" y="394"/>
                    </a:lnTo>
                    <a:lnTo>
                      <a:pt x="832" y="395"/>
                    </a:lnTo>
                    <a:lnTo>
                      <a:pt x="831" y="398"/>
                    </a:lnTo>
                    <a:lnTo>
                      <a:pt x="828" y="401"/>
                    </a:lnTo>
                    <a:lnTo>
                      <a:pt x="827" y="402"/>
                    </a:lnTo>
                    <a:lnTo>
                      <a:pt x="826" y="405"/>
                    </a:lnTo>
                    <a:lnTo>
                      <a:pt x="826" y="406"/>
                    </a:lnTo>
                    <a:lnTo>
                      <a:pt x="826" y="407"/>
                    </a:lnTo>
                    <a:lnTo>
                      <a:pt x="828" y="407"/>
                    </a:lnTo>
                    <a:lnTo>
                      <a:pt x="831" y="407"/>
                    </a:lnTo>
                    <a:lnTo>
                      <a:pt x="837" y="402"/>
                    </a:lnTo>
                    <a:lnTo>
                      <a:pt x="846" y="395"/>
                    </a:lnTo>
                    <a:lnTo>
                      <a:pt x="855" y="390"/>
                    </a:lnTo>
                    <a:lnTo>
                      <a:pt x="861" y="385"/>
                    </a:lnTo>
                    <a:lnTo>
                      <a:pt x="864" y="379"/>
                    </a:lnTo>
                    <a:close/>
                    <a:moveTo>
                      <a:pt x="936" y="366"/>
                    </a:moveTo>
                    <a:lnTo>
                      <a:pt x="926" y="371"/>
                    </a:lnTo>
                    <a:lnTo>
                      <a:pt x="922" y="371"/>
                    </a:lnTo>
                    <a:lnTo>
                      <a:pt x="919" y="371"/>
                    </a:lnTo>
                    <a:lnTo>
                      <a:pt x="915" y="373"/>
                    </a:lnTo>
                    <a:lnTo>
                      <a:pt x="912" y="373"/>
                    </a:lnTo>
                    <a:lnTo>
                      <a:pt x="911" y="374"/>
                    </a:lnTo>
                    <a:lnTo>
                      <a:pt x="909" y="375"/>
                    </a:lnTo>
                    <a:lnTo>
                      <a:pt x="909" y="378"/>
                    </a:lnTo>
                    <a:lnTo>
                      <a:pt x="926" y="371"/>
                    </a:lnTo>
                    <a:lnTo>
                      <a:pt x="931" y="368"/>
                    </a:lnTo>
                    <a:lnTo>
                      <a:pt x="936" y="366"/>
                    </a:lnTo>
                    <a:close/>
                    <a:moveTo>
                      <a:pt x="1494" y="360"/>
                    </a:moveTo>
                    <a:lnTo>
                      <a:pt x="1482" y="375"/>
                    </a:lnTo>
                    <a:lnTo>
                      <a:pt x="1475" y="387"/>
                    </a:lnTo>
                    <a:lnTo>
                      <a:pt x="1475" y="395"/>
                    </a:lnTo>
                    <a:lnTo>
                      <a:pt x="1480" y="401"/>
                    </a:lnTo>
                    <a:lnTo>
                      <a:pt x="1472" y="409"/>
                    </a:lnTo>
                    <a:lnTo>
                      <a:pt x="1467" y="413"/>
                    </a:lnTo>
                    <a:lnTo>
                      <a:pt x="1463" y="414"/>
                    </a:lnTo>
                    <a:lnTo>
                      <a:pt x="1459" y="416"/>
                    </a:lnTo>
                    <a:lnTo>
                      <a:pt x="1452" y="417"/>
                    </a:lnTo>
                    <a:lnTo>
                      <a:pt x="1464" y="421"/>
                    </a:lnTo>
                    <a:lnTo>
                      <a:pt x="1475" y="409"/>
                    </a:lnTo>
                    <a:lnTo>
                      <a:pt x="1482" y="399"/>
                    </a:lnTo>
                    <a:lnTo>
                      <a:pt x="1486" y="390"/>
                    </a:lnTo>
                    <a:lnTo>
                      <a:pt x="1488" y="382"/>
                    </a:lnTo>
                    <a:lnTo>
                      <a:pt x="1491" y="373"/>
                    </a:lnTo>
                    <a:lnTo>
                      <a:pt x="1494" y="360"/>
                    </a:lnTo>
                    <a:close/>
                    <a:moveTo>
                      <a:pt x="1505" y="338"/>
                    </a:moveTo>
                    <a:lnTo>
                      <a:pt x="1498" y="346"/>
                    </a:lnTo>
                    <a:lnTo>
                      <a:pt x="1488" y="355"/>
                    </a:lnTo>
                    <a:lnTo>
                      <a:pt x="1479" y="363"/>
                    </a:lnTo>
                    <a:lnTo>
                      <a:pt x="1476" y="364"/>
                    </a:lnTo>
                    <a:lnTo>
                      <a:pt x="1474" y="367"/>
                    </a:lnTo>
                    <a:lnTo>
                      <a:pt x="1469" y="370"/>
                    </a:lnTo>
                    <a:lnTo>
                      <a:pt x="1474" y="368"/>
                    </a:lnTo>
                    <a:lnTo>
                      <a:pt x="1476" y="366"/>
                    </a:lnTo>
                    <a:lnTo>
                      <a:pt x="1479" y="363"/>
                    </a:lnTo>
                    <a:lnTo>
                      <a:pt x="1486" y="360"/>
                    </a:lnTo>
                    <a:lnTo>
                      <a:pt x="1491" y="359"/>
                    </a:lnTo>
                    <a:lnTo>
                      <a:pt x="1498" y="356"/>
                    </a:lnTo>
                    <a:lnTo>
                      <a:pt x="1502" y="354"/>
                    </a:lnTo>
                    <a:lnTo>
                      <a:pt x="1506" y="347"/>
                    </a:lnTo>
                    <a:lnTo>
                      <a:pt x="1505" y="338"/>
                    </a:lnTo>
                    <a:close/>
                    <a:moveTo>
                      <a:pt x="922" y="309"/>
                    </a:moveTo>
                    <a:lnTo>
                      <a:pt x="909" y="312"/>
                    </a:lnTo>
                    <a:lnTo>
                      <a:pt x="895" y="317"/>
                    </a:lnTo>
                    <a:lnTo>
                      <a:pt x="881" y="321"/>
                    </a:lnTo>
                    <a:lnTo>
                      <a:pt x="868" y="327"/>
                    </a:lnTo>
                    <a:lnTo>
                      <a:pt x="859" y="334"/>
                    </a:lnTo>
                    <a:lnTo>
                      <a:pt x="857" y="338"/>
                    </a:lnTo>
                    <a:lnTo>
                      <a:pt x="861" y="342"/>
                    </a:lnTo>
                    <a:lnTo>
                      <a:pt x="866" y="335"/>
                    </a:lnTo>
                    <a:lnTo>
                      <a:pt x="876" y="328"/>
                    </a:lnTo>
                    <a:lnTo>
                      <a:pt x="889" y="323"/>
                    </a:lnTo>
                    <a:lnTo>
                      <a:pt x="903" y="317"/>
                    </a:lnTo>
                    <a:lnTo>
                      <a:pt x="915" y="313"/>
                    </a:lnTo>
                    <a:lnTo>
                      <a:pt x="922" y="309"/>
                    </a:lnTo>
                    <a:close/>
                    <a:moveTo>
                      <a:pt x="873" y="305"/>
                    </a:moveTo>
                    <a:lnTo>
                      <a:pt x="862" y="316"/>
                    </a:lnTo>
                    <a:lnTo>
                      <a:pt x="885" y="309"/>
                    </a:lnTo>
                    <a:lnTo>
                      <a:pt x="873" y="305"/>
                    </a:lnTo>
                    <a:close/>
                    <a:moveTo>
                      <a:pt x="328" y="304"/>
                    </a:moveTo>
                    <a:lnTo>
                      <a:pt x="326" y="304"/>
                    </a:lnTo>
                    <a:lnTo>
                      <a:pt x="324" y="304"/>
                    </a:lnTo>
                    <a:lnTo>
                      <a:pt x="322" y="305"/>
                    </a:lnTo>
                    <a:lnTo>
                      <a:pt x="320" y="308"/>
                    </a:lnTo>
                    <a:lnTo>
                      <a:pt x="317" y="309"/>
                    </a:lnTo>
                    <a:lnTo>
                      <a:pt x="314" y="311"/>
                    </a:lnTo>
                    <a:lnTo>
                      <a:pt x="312" y="311"/>
                    </a:lnTo>
                    <a:lnTo>
                      <a:pt x="282" y="342"/>
                    </a:lnTo>
                    <a:lnTo>
                      <a:pt x="291" y="342"/>
                    </a:lnTo>
                    <a:lnTo>
                      <a:pt x="299" y="335"/>
                    </a:lnTo>
                    <a:lnTo>
                      <a:pt x="309" y="325"/>
                    </a:lnTo>
                    <a:lnTo>
                      <a:pt x="318" y="315"/>
                    </a:lnTo>
                    <a:lnTo>
                      <a:pt x="328" y="307"/>
                    </a:lnTo>
                    <a:lnTo>
                      <a:pt x="328" y="304"/>
                    </a:lnTo>
                    <a:lnTo>
                      <a:pt x="328" y="304"/>
                    </a:lnTo>
                    <a:close/>
                    <a:moveTo>
                      <a:pt x="980" y="296"/>
                    </a:moveTo>
                    <a:lnTo>
                      <a:pt x="966" y="299"/>
                    </a:lnTo>
                    <a:lnTo>
                      <a:pt x="959" y="303"/>
                    </a:lnTo>
                    <a:lnTo>
                      <a:pt x="954" y="307"/>
                    </a:lnTo>
                    <a:lnTo>
                      <a:pt x="950" y="312"/>
                    </a:lnTo>
                    <a:lnTo>
                      <a:pt x="945" y="317"/>
                    </a:lnTo>
                    <a:lnTo>
                      <a:pt x="932" y="321"/>
                    </a:lnTo>
                    <a:lnTo>
                      <a:pt x="938" y="320"/>
                    </a:lnTo>
                    <a:lnTo>
                      <a:pt x="942" y="319"/>
                    </a:lnTo>
                    <a:lnTo>
                      <a:pt x="945" y="317"/>
                    </a:lnTo>
                    <a:lnTo>
                      <a:pt x="950" y="315"/>
                    </a:lnTo>
                    <a:lnTo>
                      <a:pt x="954" y="313"/>
                    </a:lnTo>
                    <a:lnTo>
                      <a:pt x="957" y="312"/>
                    </a:lnTo>
                    <a:lnTo>
                      <a:pt x="958" y="311"/>
                    </a:lnTo>
                    <a:lnTo>
                      <a:pt x="958" y="308"/>
                    </a:lnTo>
                    <a:lnTo>
                      <a:pt x="958" y="305"/>
                    </a:lnTo>
                    <a:lnTo>
                      <a:pt x="965" y="301"/>
                    </a:lnTo>
                    <a:lnTo>
                      <a:pt x="973" y="299"/>
                    </a:lnTo>
                    <a:lnTo>
                      <a:pt x="980" y="296"/>
                    </a:lnTo>
                    <a:close/>
                    <a:moveTo>
                      <a:pt x="977" y="288"/>
                    </a:moveTo>
                    <a:lnTo>
                      <a:pt x="945" y="303"/>
                    </a:lnTo>
                    <a:lnTo>
                      <a:pt x="980" y="289"/>
                    </a:lnTo>
                    <a:lnTo>
                      <a:pt x="977" y="288"/>
                    </a:lnTo>
                    <a:close/>
                    <a:moveTo>
                      <a:pt x="1490" y="245"/>
                    </a:moveTo>
                    <a:lnTo>
                      <a:pt x="1492" y="246"/>
                    </a:lnTo>
                    <a:lnTo>
                      <a:pt x="1492" y="246"/>
                    </a:lnTo>
                    <a:lnTo>
                      <a:pt x="1492" y="247"/>
                    </a:lnTo>
                    <a:lnTo>
                      <a:pt x="1492" y="249"/>
                    </a:lnTo>
                    <a:lnTo>
                      <a:pt x="1491" y="250"/>
                    </a:lnTo>
                    <a:lnTo>
                      <a:pt x="1490" y="252"/>
                    </a:lnTo>
                    <a:lnTo>
                      <a:pt x="1490" y="253"/>
                    </a:lnTo>
                    <a:lnTo>
                      <a:pt x="1490" y="256"/>
                    </a:lnTo>
                    <a:lnTo>
                      <a:pt x="1490" y="257"/>
                    </a:lnTo>
                    <a:lnTo>
                      <a:pt x="1492" y="260"/>
                    </a:lnTo>
                    <a:lnTo>
                      <a:pt x="1496" y="262"/>
                    </a:lnTo>
                    <a:lnTo>
                      <a:pt x="1505" y="274"/>
                    </a:lnTo>
                    <a:lnTo>
                      <a:pt x="1511" y="284"/>
                    </a:lnTo>
                    <a:lnTo>
                      <a:pt x="1518" y="288"/>
                    </a:lnTo>
                    <a:lnTo>
                      <a:pt x="1525" y="286"/>
                    </a:lnTo>
                    <a:lnTo>
                      <a:pt x="1521" y="276"/>
                    </a:lnTo>
                    <a:lnTo>
                      <a:pt x="1514" y="264"/>
                    </a:lnTo>
                    <a:lnTo>
                      <a:pt x="1507" y="253"/>
                    </a:lnTo>
                    <a:lnTo>
                      <a:pt x="1499" y="246"/>
                    </a:lnTo>
                    <a:lnTo>
                      <a:pt x="1490" y="245"/>
                    </a:lnTo>
                    <a:close/>
                    <a:moveTo>
                      <a:pt x="1420" y="222"/>
                    </a:moveTo>
                    <a:lnTo>
                      <a:pt x="1397" y="227"/>
                    </a:lnTo>
                    <a:lnTo>
                      <a:pt x="1403" y="227"/>
                    </a:lnTo>
                    <a:lnTo>
                      <a:pt x="1420" y="222"/>
                    </a:lnTo>
                    <a:close/>
                    <a:moveTo>
                      <a:pt x="401" y="187"/>
                    </a:moveTo>
                    <a:lnTo>
                      <a:pt x="395" y="188"/>
                    </a:lnTo>
                    <a:lnTo>
                      <a:pt x="387" y="194"/>
                    </a:lnTo>
                    <a:lnTo>
                      <a:pt x="379" y="199"/>
                    </a:lnTo>
                    <a:lnTo>
                      <a:pt x="371" y="207"/>
                    </a:lnTo>
                    <a:lnTo>
                      <a:pt x="383" y="202"/>
                    </a:lnTo>
                    <a:lnTo>
                      <a:pt x="390" y="198"/>
                    </a:lnTo>
                    <a:lnTo>
                      <a:pt x="395" y="194"/>
                    </a:lnTo>
                    <a:lnTo>
                      <a:pt x="401" y="187"/>
                    </a:lnTo>
                    <a:close/>
                    <a:moveTo>
                      <a:pt x="529" y="179"/>
                    </a:moveTo>
                    <a:lnTo>
                      <a:pt x="510" y="200"/>
                    </a:lnTo>
                    <a:lnTo>
                      <a:pt x="513" y="199"/>
                    </a:lnTo>
                    <a:lnTo>
                      <a:pt x="515" y="198"/>
                    </a:lnTo>
                    <a:lnTo>
                      <a:pt x="518" y="195"/>
                    </a:lnTo>
                    <a:lnTo>
                      <a:pt x="521" y="192"/>
                    </a:lnTo>
                    <a:lnTo>
                      <a:pt x="523" y="190"/>
                    </a:lnTo>
                    <a:lnTo>
                      <a:pt x="526" y="187"/>
                    </a:lnTo>
                    <a:lnTo>
                      <a:pt x="529" y="186"/>
                    </a:lnTo>
                    <a:lnTo>
                      <a:pt x="530" y="183"/>
                    </a:lnTo>
                    <a:lnTo>
                      <a:pt x="532" y="182"/>
                    </a:lnTo>
                    <a:lnTo>
                      <a:pt x="530" y="180"/>
                    </a:lnTo>
                    <a:lnTo>
                      <a:pt x="529" y="179"/>
                    </a:lnTo>
                    <a:close/>
                    <a:moveTo>
                      <a:pt x="1330" y="164"/>
                    </a:moveTo>
                    <a:lnTo>
                      <a:pt x="1325" y="168"/>
                    </a:lnTo>
                    <a:lnTo>
                      <a:pt x="1316" y="172"/>
                    </a:lnTo>
                    <a:lnTo>
                      <a:pt x="1305" y="175"/>
                    </a:lnTo>
                    <a:lnTo>
                      <a:pt x="1293" y="179"/>
                    </a:lnTo>
                    <a:lnTo>
                      <a:pt x="1282" y="183"/>
                    </a:lnTo>
                    <a:lnTo>
                      <a:pt x="1272" y="187"/>
                    </a:lnTo>
                    <a:lnTo>
                      <a:pt x="1267" y="192"/>
                    </a:lnTo>
                    <a:lnTo>
                      <a:pt x="1266" y="198"/>
                    </a:lnTo>
                    <a:lnTo>
                      <a:pt x="1271" y="204"/>
                    </a:lnTo>
                    <a:lnTo>
                      <a:pt x="1282" y="202"/>
                    </a:lnTo>
                    <a:lnTo>
                      <a:pt x="1293" y="202"/>
                    </a:lnTo>
                    <a:lnTo>
                      <a:pt x="1305" y="203"/>
                    </a:lnTo>
                    <a:lnTo>
                      <a:pt x="1316" y="204"/>
                    </a:lnTo>
                    <a:lnTo>
                      <a:pt x="1326" y="203"/>
                    </a:lnTo>
                    <a:lnTo>
                      <a:pt x="1335" y="196"/>
                    </a:lnTo>
                    <a:lnTo>
                      <a:pt x="1306" y="199"/>
                    </a:lnTo>
                    <a:lnTo>
                      <a:pt x="1312" y="198"/>
                    </a:lnTo>
                    <a:lnTo>
                      <a:pt x="1321" y="195"/>
                    </a:lnTo>
                    <a:lnTo>
                      <a:pt x="1333" y="191"/>
                    </a:lnTo>
                    <a:lnTo>
                      <a:pt x="1347" y="188"/>
                    </a:lnTo>
                    <a:lnTo>
                      <a:pt x="1361" y="187"/>
                    </a:lnTo>
                    <a:lnTo>
                      <a:pt x="1352" y="182"/>
                    </a:lnTo>
                    <a:lnTo>
                      <a:pt x="1347" y="180"/>
                    </a:lnTo>
                    <a:lnTo>
                      <a:pt x="1343" y="180"/>
                    </a:lnTo>
                    <a:lnTo>
                      <a:pt x="1339" y="182"/>
                    </a:lnTo>
                    <a:lnTo>
                      <a:pt x="1335" y="184"/>
                    </a:lnTo>
                    <a:lnTo>
                      <a:pt x="1328" y="187"/>
                    </a:lnTo>
                    <a:lnTo>
                      <a:pt x="1317" y="190"/>
                    </a:lnTo>
                    <a:lnTo>
                      <a:pt x="1301" y="190"/>
                    </a:lnTo>
                    <a:lnTo>
                      <a:pt x="1321" y="186"/>
                    </a:lnTo>
                    <a:lnTo>
                      <a:pt x="1332" y="183"/>
                    </a:lnTo>
                    <a:lnTo>
                      <a:pt x="1339" y="179"/>
                    </a:lnTo>
                    <a:lnTo>
                      <a:pt x="1339" y="175"/>
                    </a:lnTo>
                    <a:lnTo>
                      <a:pt x="1337" y="171"/>
                    </a:lnTo>
                    <a:lnTo>
                      <a:pt x="1333" y="167"/>
                    </a:lnTo>
                    <a:lnTo>
                      <a:pt x="1330" y="164"/>
                    </a:lnTo>
                    <a:close/>
                    <a:moveTo>
                      <a:pt x="428" y="149"/>
                    </a:moveTo>
                    <a:lnTo>
                      <a:pt x="417" y="155"/>
                    </a:lnTo>
                    <a:lnTo>
                      <a:pt x="410" y="160"/>
                    </a:lnTo>
                    <a:lnTo>
                      <a:pt x="407" y="167"/>
                    </a:lnTo>
                    <a:lnTo>
                      <a:pt x="402" y="175"/>
                    </a:lnTo>
                    <a:lnTo>
                      <a:pt x="394" y="184"/>
                    </a:lnTo>
                    <a:lnTo>
                      <a:pt x="406" y="178"/>
                    </a:lnTo>
                    <a:lnTo>
                      <a:pt x="413" y="172"/>
                    </a:lnTo>
                    <a:lnTo>
                      <a:pt x="417" y="165"/>
                    </a:lnTo>
                    <a:lnTo>
                      <a:pt x="420" y="160"/>
                    </a:lnTo>
                    <a:lnTo>
                      <a:pt x="422" y="155"/>
                    </a:lnTo>
                    <a:lnTo>
                      <a:pt x="428" y="149"/>
                    </a:lnTo>
                    <a:close/>
                    <a:moveTo>
                      <a:pt x="545" y="145"/>
                    </a:moveTo>
                    <a:lnTo>
                      <a:pt x="536" y="155"/>
                    </a:lnTo>
                    <a:lnTo>
                      <a:pt x="540" y="164"/>
                    </a:lnTo>
                    <a:lnTo>
                      <a:pt x="545" y="145"/>
                    </a:lnTo>
                    <a:close/>
                    <a:moveTo>
                      <a:pt x="637" y="118"/>
                    </a:moveTo>
                    <a:lnTo>
                      <a:pt x="630" y="118"/>
                    </a:lnTo>
                    <a:lnTo>
                      <a:pt x="622" y="120"/>
                    </a:lnTo>
                    <a:lnTo>
                      <a:pt x="613" y="124"/>
                    </a:lnTo>
                    <a:lnTo>
                      <a:pt x="603" y="126"/>
                    </a:lnTo>
                    <a:lnTo>
                      <a:pt x="600" y="125"/>
                    </a:lnTo>
                    <a:lnTo>
                      <a:pt x="598" y="125"/>
                    </a:lnTo>
                    <a:lnTo>
                      <a:pt x="594" y="125"/>
                    </a:lnTo>
                    <a:lnTo>
                      <a:pt x="591" y="126"/>
                    </a:lnTo>
                    <a:lnTo>
                      <a:pt x="588" y="128"/>
                    </a:lnTo>
                    <a:lnTo>
                      <a:pt x="587" y="130"/>
                    </a:lnTo>
                    <a:lnTo>
                      <a:pt x="584" y="133"/>
                    </a:lnTo>
                    <a:lnTo>
                      <a:pt x="580" y="135"/>
                    </a:lnTo>
                    <a:lnTo>
                      <a:pt x="576" y="136"/>
                    </a:lnTo>
                    <a:lnTo>
                      <a:pt x="572" y="136"/>
                    </a:lnTo>
                    <a:lnTo>
                      <a:pt x="571" y="139"/>
                    </a:lnTo>
                    <a:lnTo>
                      <a:pt x="576" y="139"/>
                    </a:lnTo>
                    <a:lnTo>
                      <a:pt x="579" y="137"/>
                    </a:lnTo>
                    <a:lnTo>
                      <a:pt x="581" y="136"/>
                    </a:lnTo>
                    <a:lnTo>
                      <a:pt x="584" y="133"/>
                    </a:lnTo>
                    <a:lnTo>
                      <a:pt x="603" y="126"/>
                    </a:lnTo>
                    <a:lnTo>
                      <a:pt x="604" y="130"/>
                    </a:lnTo>
                    <a:lnTo>
                      <a:pt x="600" y="137"/>
                    </a:lnTo>
                    <a:lnTo>
                      <a:pt x="595" y="144"/>
                    </a:lnTo>
                    <a:lnTo>
                      <a:pt x="588" y="151"/>
                    </a:lnTo>
                    <a:lnTo>
                      <a:pt x="584" y="156"/>
                    </a:lnTo>
                    <a:lnTo>
                      <a:pt x="592" y="149"/>
                    </a:lnTo>
                    <a:lnTo>
                      <a:pt x="599" y="143"/>
                    </a:lnTo>
                    <a:lnTo>
                      <a:pt x="607" y="136"/>
                    </a:lnTo>
                    <a:lnTo>
                      <a:pt x="618" y="132"/>
                    </a:lnTo>
                    <a:lnTo>
                      <a:pt x="618" y="133"/>
                    </a:lnTo>
                    <a:lnTo>
                      <a:pt x="618" y="135"/>
                    </a:lnTo>
                    <a:lnTo>
                      <a:pt x="618" y="135"/>
                    </a:lnTo>
                    <a:lnTo>
                      <a:pt x="617" y="136"/>
                    </a:lnTo>
                    <a:lnTo>
                      <a:pt x="617" y="137"/>
                    </a:lnTo>
                    <a:lnTo>
                      <a:pt x="614" y="139"/>
                    </a:lnTo>
                    <a:lnTo>
                      <a:pt x="610" y="140"/>
                    </a:lnTo>
                    <a:lnTo>
                      <a:pt x="631" y="132"/>
                    </a:lnTo>
                    <a:lnTo>
                      <a:pt x="638" y="124"/>
                    </a:lnTo>
                    <a:lnTo>
                      <a:pt x="640" y="120"/>
                    </a:lnTo>
                    <a:lnTo>
                      <a:pt x="637" y="118"/>
                    </a:lnTo>
                    <a:close/>
                    <a:moveTo>
                      <a:pt x="742" y="73"/>
                    </a:moveTo>
                    <a:lnTo>
                      <a:pt x="731" y="89"/>
                    </a:lnTo>
                    <a:lnTo>
                      <a:pt x="747" y="85"/>
                    </a:lnTo>
                    <a:lnTo>
                      <a:pt x="742" y="73"/>
                    </a:lnTo>
                    <a:close/>
                    <a:moveTo>
                      <a:pt x="723" y="71"/>
                    </a:moveTo>
                    <a:lnTo>
                      <a:pt x="720" y="74"/>
                    </a:lnTo>
                    <a:lnTo>
                      <a:pt x="719" y="77"/>
                    </a:lnTo>
                    <a:lnTo>
                      <a:pt x="718" y="81"/>
                    </a:lnTo>
                    <a:lnTo>
                      <a:pt x="703" y="90"/>
                    </a:lnTo>
                    <a:lnTo>
                      <a:pt x="683" y="96"/>
                    </a:lnTo>
                    <a:lnTo>
                      <a:pt x="683" y="93"/>
                    </a:lnTo>
                    <a:lnTo>
                      <a:pt x="684" y="91"/>
                    </a:lnTo>
                    <a:lnTo>
                      <a:pt x="687" y="90"/>
                    </a:lnTo>
                    <a:lnTo>
                      <a:pt x="691" y="89"/>
                    </a:lnTo>
                    <a:lnTo>
                      <a:pt x="693" y="87"/>
                    </a:lnTo>
                    <a:lnTo>
                      <a:pt x="698" y="86"/>
                    </a:lnTo>
                    <a:lnTo>
                      <a:pt x="702" y="85"/>
                    </a:lnTo>
                    <a:lnTo>
                      <a:pt x="688" y="87"/>
                    </a:lnTo>
                    <a:lnTo>
                      <a:pt x="672" y="93"/>
                    </a:lnTo>
                    <a:lnTo>
                      <a:pt x="677" y="96"/>
                    </a:lnTo>
                    <a:lnTo>
                      <a:pt x="681" y="97"/>
                    </a:lnTo>
                    <a:lnTo>
                      <a:pt x="683" y="98"/>
                    </a:lnTo>
                    <a:lnTo>
                      <a:pt x="683" y="100"/>
                    </a:lnTo>
                    <a:lnTo>
                      <a:pt x="683" y="102"/>
                    </a:lnTo>
                    <a:lnTo>
                      <a:pt x="683" y="104"/>
                    </a:lnTo>
                    <a:lnTo>
                      <a:pt x="684" y="106"/>
                    </a:lnTo>
                    <a:lnTo>
                      <a:pt x="685" y="109"/>
                    </a:lnTo>
                    <a:lnTo>
                      <a:pt x="700" y="105"/>
                    </a:lnTo>
                    <a:lnTo>
                      <a:pt x="710" y="100"/>
                    </a:lnTo>
                    <a:lnTo>
                      <a:pt x="715" y="96"/>
                    </a:lnTo>
                    <a:lnTo>
                      <a:pt x="718" y="90"/>
                    </a:lnTo>
                    <a:lnTo>
                      <a:pt x="718" y="86"/>
                    </a:lnTo>
                    <a:lnTo>
                      <a:pt x="718" y="81"/>
                    </a:lnTo>
                    <a:lnTo>
                      <a:pt x="720" y="78"/>
                    </a:lnTo>
                    <a:lnTo>
                      <a:pt x="723" y="75"/>
                    </a:lnTo>
                    <a:lnTo>
                      <a:pt x="723" y="73"/>
                    </a:lnTo>
                    <a:lnTo>
                      <a:pt x="723" y="71"/>
                    </a:lnTo>
                    <a:close/>
                    <a:moveTo>
                      <a:pt x="927" y="53"/>
                    </a:moveTo>
                    <a:lnTo>
                      <a:pt x="928" y="53"/>
                    </a:lnTo>
                    <a:lnTo>
                      <a:pt x="934" y="55"/>
                    </a:lnTo>
                    <a:lnTo>
                      <a:pt x="927" y="53"/>
                    </a:lnTo>
                    <a:close/>
                    <a:moveTo>
                      <a:pt x="754" y="40"/>
                    </a:moveTo>
                    <a:lnTo>
                      <a:pt x="742" y="46"/>
                    </a:lnTo>
                    <a:lnTo>
                      <a:pt x="739" y="48"/>
                    </a:lnTo>
                    <a:lnTo>
                      <a:pt x="739" y="50"/>
                    </a:lnTo>
                    <a:lnTo>
                      <a:pt x="739" y="51"/>
                    </a:lnTo>
                    <a:lnTo>
                      <a:pt x="739" y="53"/>
                    </a:lnTo>
                    <a:lnTo>
                      <a:pt x="739" y="54"/>
                    </a:lnTo>
                    <a:lnTo>
                      <a:pt x="739" y="55"/>
                    </a:lnTo>
                    <a:lnTo>
                      <a:pt x="743" y="54"/>
                    </a:lnTo>
                    <a:lnTo>
                      <a:pt x="747" y="53"/>
                    </a:lnTo>
                    <a:lnTo>
                      <a:pt x="752" y="51"/>
                    </a:lnTo>
                    <a:lnTo>
                      <a:pt x="754" y="48"/>
                    </a:lnTo>
                    <a:lnTo>
                      <a:pt x="758" y="47"/>
                    </a:lnTo>
                    <a:lnTo>
                      <a:pt x="760" y="46"/>
                    </a:lnTo>
                    <a:lnTo>
                      <a:pt x="761" y="44"/>
                    </a:lnTo>
                    <a:lnTo>
                      <a:pt x="761" y="43"/>
                    </a:lnTo>
                    <a:lnTo>
                      <a:pt x="761" y="42"/>
                    </a:lnTo>
                    <a:lnTo>
                      <a:pt x="758" y="40"/>
                    </a:lnTo>
                    <a:lnTo>
                      <a:pt x="754" y="40"/>
                    </a:lnTo>
                    <a:close/>
                    <a:moveTo>
                      <a:pt x="760" y="0"/>
                    </a:moveTo>
                    <a:lnTo>
                      <a:pt x="781" y="1"/>
                    </a:lnTo>
                    <a:lnTo>
                      <a:pt x="806" y="5"/>
                    </a:lnTo>
                    <a:lnTo>
                      <a:pt x="834" y="8"/>
                    </a:lnTo>
                    <a:lnTo>
                      <a:pt x="868" y="8"/>
                    </a:lnTo>
                    <a:lnTo>
                      <a:pt x="880" y="12"/>
                    </a:lnTo>
                    <a:lnTo>
                      <a:pt x="885" y="16"/>
                    </a:lnTo>
                    <a:lnTo>
                      <a:pt x="885" y="19"/>
                    </a:lnTo>
                    <a:lnTo>
                      <a:pt x="884" y="22"/>
                    </a:lnTo>
                    <a:lnTo>
                      <a:pt x="881" y="23"/>
                    </a:lnTo>
                    <a:lnTo>
                      <a:pt x="878" y="24"/>
                    </a:lnTo>
                    <a:lnTo>
                      <a:pt x="878" y="27"/>
                    </a:lnTo>
                    <a:lnTo>
                      <a:pt x="882" y="28"/>
                    </a:lnTo>
                    <a:lnTo>
                      <a:pt x="891" y="31"/>
                    </a:lnTo>
                    <a:lnTo>
                      <a:pt x="907" y="35"/>
                    </a:lnTo>
                    <a:lnTo>
                      <a:pt x="893" y="32"/>
                    </a:lnTo>
                    <a:lnTo>
                      <a:pt x="878" y="34"/>
                    </a:lnTo>
                    <a:lnTo>
                      <a:pt x="864" y="35"/>
                    </a:lnTo>
                    <a:lnTo>
                      <a:pt x="869" y="38"/>
                    </a:lnTo>
                    <a:lnTo>
                      <a:pt x="872" y="40"/>
                    </a:lnTo>
                    <a:lnTo>
                      <a:pt x="874" y="43"/>
                    </a:lnTo>
                    <a:lnTo>
                      <a:pt x="881" y="46"/>
                    </a:lnTo>
                    <a:lnTo>
                      <a:pt x="893" y="47"/>
                    </a:lnTo>
                    <a:lnTo>
                      <a:pt x="901" y="46"/>
                    </a:lnTo>
                    <a:lnTo>
                      <a:pt x="911" y="47"/>
                    </a:lnTo>
                    <a:lnTo>
                      <a:pt x="923" y="51"/>
                    </a:lnTo>
                    <a:lnTo>
                      <a:pt x="927" y="53"/>
                    </a:lnTo>
                    <a:lnTo>
                      <a:pt x="923" y="51"/>
                    </a:lnTo>
                    <a:lnTo>
                      <a:pt x="919" y="50"/>
                    </a:lnTo>
                    <a:lnTo>
                      <a:pt x="918" y="50"/>
                    </a:lnTo>
                    <a:lnTo>
                      <a:pt x="916" y="51"/>
                    </a:lnTo>
                    <a:lnTo>
                      <a:pt x="915" y="53"/>
                    </a:lnTo>
                    <a:lnTo>
                      <a:pt x="916" y="54"/>
                    </a:lnTo>
                    <a:lnTo>
                      <a:pt x="916" y="57"/>
                    </a:lnTo>
                    <a:lnTo>
                      <a:pt x="918" y="59"/>
                    </a:lnTo>
                    <a:lnTo>
                      <a:pt x="919" y="62"/>
                    </a:lnTo>
                    <a:lnTo>
                      <a:pt x="922" y="65"/>
                    </a:lnTo>
                    <a:lnTo>
                      <a:pt x="923" y="67"/>
                    </a:lnTo>
                    <a:lnTo>
                      <a:pt x="924" y="70"/>
                    </a:lnTo>
                    <a:lnTo>
                      <a:pt x="926" y="73"/>
                    </a:lnTo>
                    <a:lnTo>
                      <a:pt x="927" y="75"/>
                    </a:lnTo>
                    <a:lnTo>
                      <a:pt x="928" y="77"/>
                    </a:lnTo>
                    <a:lnTo>
                      <a:pt x="928" y="79"/>
                    </a:lnTo>
                    <a:lnTo>
                      <a:pt x="927" y="79"/>
                    </a:lnTo>
                    <a:lnTo>
                      <a:pt x="926" y="79"/>
                    </a:lnTo>
                    <a:lnTo>
                      <a:pt x="923" y="79"/>
                    </a:lnTo>
                    <a:lnTo>
                      <a:pt x="919" y="78"/>
                    </a:lnTo>
                    <a:lnTo>
                      <a:pt x="916" y="77"/>
                    </a:lnTo>
                    <a:lnTo>
                      <a:pt x="918" y="79"/>
                    </a:lnTo>
                    <a:lnTo>
                      <a:pt x="920" y="82"/>
                    </a:lnTo>
                    <a:lnTo>
                      <a:pt x="922" y="85"/>
                    </a:lnTo>
                    <a:lnTo>
                      <a:pt x="923" y="87"/>
                    </a:lnTo>
                    <a:lnTo>
                      <a:pt x="922" y="86"/>
                    </a:lnTo>
                    <a:lnTo>
                      <a:pt x="920" y="86"/>
                    </a:lnTo>
                    <a:lnTo>
                      <a:pt x="920" y="87"/>
                    </a:lnTo>
                    <a:lnTo>
                      <a:pt x="930" y="105"/>
                    </a:lnTo>
                    <a:lnTo>
                      <a:pt x="924" y="100"/>
                    </a:lnTo>
                    <a:lnTo>
                      <a:pt x="919" y="93"/>
                    </a:lnTo>
                    <a:lnTo>
                      <a:pt x="913" y="89"/>
                    </a:lnTo>
                    <a:lnTo>
                      <a:pt x="909" y="85"/>
                    </a:lnTo>
                    <a:lnTo>
                      <a:pt x="907" y="86"/>
                    </a:lnTo>
                    <a:lnTo>
                      <a:pt x="905" y="91"/>
                    </a:lnTo>
                    <a:lnTo>
                      <a:pt x="908" y="100"/>
                    </a:lnTo>
                    <a:lnTo>
                      <a:pt x="912" y="106"/>
                    </a:lnTo>
                    <a:lnTo>
                      <a:pt x="916" y="112"/>
                    </a:lnTo>
                    <a:lnTo>
                      <a:pt x="912" y="112"/>
                    </a:lnTo>
                    <a:lnTo>
                      <a:pt x="909" y="113"/>
                    </a:lnTo>
                    <a:lnTo>
                      <a:pt x="908" y="113"/>
                    </a:lnTo>
                    <a:lnTo>
                      <a:pt x="907" y="114"/>
                    </a:lnTo>
                    <a:lnTo>
                      <a:pt x="905" y="117"/>
                    </a:lnTo>
                    <a:lnTo>
                      <a:pt x="904" y="117"/>
                    </a:lnTo>
                    <a:lnTo>
                      <a:pt x="901" y="118"/>
                    </a:lnTo>
                    <a:lnTo>
                      <a:pt x="893" y="113"/>
                    </a:lnTo>
                    <a:lnTo>
                      <a:pt x="886" y="109"/>
                    </a:lnTo>
                    <a:lnTo>
                      <a:pt x="880" y="108"/>
                    </a:lnTo>
                    <a:lnTo>
                      <a:pt x="872" y="108"/>
                    </a:lnTo>
                    <a:lnTo>
                      <a:pt x="858" y="109"/>
                    </a:lnTo>
                    <a:lnTo>
                      <a:pt x="861" y="108"/>
                    </a:lnTo>
                    <a:lnTo>
                      <a:pt x="862" y="105"/>
                    </a:lnTo>
                    <a:lnTo>
                      <a:pt x="865" y="104"/>
                    </a:lnTo>
                    <a:lnTo>
                      <a:pt x="868" y="102"/>
                    </a:lnTo>
                    <a:lnTo>
                      <a:pt x="869" y="101"/>
                    </a:lnTo>
                    <a:lnTo>
                      <a:pt x="869" y="98"/>
                    </a:lnTo>
                    <a:lnTo>
                      <a:pt x="859" y="96"/>
                    </a:lnTo>
                    <a:lnTo>
                      <a:pt x="854" y="97"/>
                    </a:lnTo>
                    <a:lnTo>
                      <a:pt x="849" y="98"/>
                    </a:lnTo>
                    <a:lnTo>
                      <a:pt x="842" y="100"/>
                    </a:lnTo>
                    <a:lnTo>
                      <a:pt x="831" y="100"/>
                    </a:lnTo>
                    <a:lnTo>
                      <a:pt x="841" y="93"/>
                    </a:lnTo>
                    <a:lnTo>
                      <a:pt x="839" y="94"/>
                    </a:lnTo>
                    <a:lnTo>
                      <a:pt x="838" y="96"/>
                    </a:lnTo>
                    <a:lnTo>
                      <a:pt x="838" y="96"/>
                    </a:lnTo>
                    <a:lnTo>
                      <a:pt x="839" y="97"/>
                    </a:lnTo>
                    <a:lnTo>
                      <a:pt x="841" y="97"/>
                    </a:lnTo>
                    <a:lnTo>
                      <a:pt x="845" y="97"/>
                    </a:lnTo>
                    <a:lnTo>
                      <a:pt x="847" y="97"/>
                    </a:lnTo>
                    <a:lnTo>
                      <a:pt x="850" y="96"/>
                    </a:lnTo>
                    <a:lnTo>
                      <a:pt x="851" y="94"/>
                    </a:lnTo>
                    <a:lnTo>
                      <a:pt x="853" y="93"/>
                    </a:lnTo>
                    <a:lnTo>
                      <a:pt x="853" y="90"/>
                    </a:lnTo>
                    <a:lnTo>
                      <a:pt x="846" y="89"/>
                    </a:lnTo>
                    <a:lnTo>
                      <a:pt x="837" y="89"/>
                    </a:lnTo>
                    <a:lnTo>
                      <a:pt x="827" y="91"/>
                    </a:lnTo>
                    <a:lnTo>
                      <a:pt x="819" y="94"/>
                    </a:lnTo>
                    <a:lnTo>
                      <a:pt x="814" y="98"/>
                    </a:lnTo>
                    <a:lnTo>
                      <a:pt x="808" y="98"/>
                    </a:lnTo>
                    <a:lnTo>
                      <a:pt x="803" y="100"/>
                    </a:lnTo>
                    <a:lnTo>
                      <a:pt x="800" y="98"/>
                    </a:lnTo>
                    <a:lnTo>
                      <a:pt x="797" y="98"/>
                    </a:lnTo>
                    <a:lnTo>
                      <a:pt x="796" y="97"/>
                    </a:lnTo>
                    <a:lnTo>
                      <a:pt x="796" y="96"/>
                    </a:lnTo>
                    <a:lnTo>
                      <a:pt x="796" y="94"/>
                    </a:lnTo>
                    <a:lnTo>
                      <a:pt x="796" y="93"/>
                    </a:lnTo>
                    <a:lnTo>
                      <a:pt x="797" y="90"/>
                    </a:lnTo>
                    <a:lnTo>
                      <a:pt x="797" y="89"/>
                    </a:lnTo>
                    <a:lnTo>
                      <a:pt x="799" y="87"/>
                    </a:lnTo>
                    <a:lnTo>
                      <a:pt x="799" y="86"/>
                    </a:lnTo>
                    <a:lnTo>
                      <a:pt x="797" y="86"/>
                    </a:lnTo>
                    <a:lnTo>
                      <a:pt x="797" y="85"/>
                    </a:lnTo>
                    <a:lnTo>
                      <a:pt x="788" y="91"/>
                    </a:lnTo>
                    <a:lnTo>
                      <a:pt x="774" y="97"/>
                    </a:lnTo>
                    <a:lnTo>
                      <a:pt x="761" y="101"/>
                    </a:lnTo>
                    <a:lnTo>
                      <a:pt x="746" y="105"/>
                    </a:lnTo>
                    <a:lnTo>
                      <a:pt x="731" y="109"/>
                    </a:lnTo>
                    <a:lnTo>
                      <a:pt x="720" y="116"/>
                    </a:lnTo>
                    <a:lnTo>
                      <a:pt x="731" y="102"/>
                    </a:lnTo>
                    <a:lnTo>
                      <a:pt x="710" y="106"/>
                    </a:lnTo>
                    <a:lnTo>
                      <a:pt x="692" y="113"/>
                    </a:lnTo>
                    <a:lnTo>
                      <a:pt x="679" y="122"/>
                    </a:lnTo>
                    <a:lnTo>
                      <a:pt x="667" y="132"/>
                    </a:lnTo>
                    <a:lnTo>
                      <a:pt x="669" y="122"/>
                    </a:lnTo>
                    <a:lnTo>
                      <a:pt x="653" y="129"/>
                    </a:lnTo>
                    <a:lnTo>
                      <a:pt x="637" y="135"/>
                    </a:lnTo>
                    <a:lnTo>
                      <a:pt x="622" y="137"/>
                    </a:lnTo>
                    <a:lnTo>
                      <a:pt x="610" y="143"/>
                    </a:lnTo>
                    <a:lnTo>
                      <a:pt x="599" y="152"/>
                    </a:lnTo>
                    <a:lnTo>
                      <a:pt x="590" y="167"/>
                    </a:lnTo>
                    <a:lnTo>
                      <a:pt x="591" y="160"/>
                    </a:lnTo>
                    <a:lnTo>
                      <a:pt x="577" y="165"/>
                    </a:lnTo>
                    <a:lnTo>
                      <a:pt x="564" y="172"/>
                    </a:lnTo>
                    <a:lnTo>
                      <a:pt x="550" y="180"/>
                    </a:lnTo>
                    <a:lnTo>
                      <a:pt x="541" y="190"/>
                    </a:lnTo>
                    <a:lnTo>
                      <a:pt x="538" y="188"/>
                    </a:lnTo>
                    <a:lnTo>
                      <a:pt x="536" y="187"/>
                    </a:lnTo>
                    <a:lnTo>
                      <a:pt x="533" y="187"/>
                    </a:lnTo>
                    <a:lnTo>
                      <a:pt x="529" y="188"/>
                    </a:lnTo>
                    <a:lnTo>
                      <a:pt x="523" y="198"/>
                    </a:lnTo>
                    <a:lnTo>
                      <a:pt x="514" y="203"/>
                    </a:lnTo>
                    <a:lnTo>
                      <a:pt x="501" y="210"/>
                    </a:lnTo>
                    <a:lnTo>
                      <a:pt x="486" y="218"/>
                    </a:lnTo>
                    <a:lnTo>
                      <a:pt x="491" y="210"/>
                    </a:lnTo>
                    <a:lnTo>
                      <a:pt x="492" y="203"/>
                    </a:lnTo>
                    <a:lnTo>
                      <a:pt x="494" y="195"/>
                    </a:lnTo>
                    <a:lnTo>
                      <a:pt x="501" y="187"/>
                    </a:lnTo>
                    <a:lnTo>
                      <a:pt x="486" y="194"/>
                    </a:lnTo>
                    <a:lnTo>
                      <a:pt x="476" y="200"/>
                    </a:lnTo>
                    <a:lnTo>
                      <a:pt x="471" y="208"/>
                    </a:lnTo>
                    <a:lnTo>
                      <a:pt x="467" y="218"/>
                    </a:lnTo>
                    <a:lnTo>
                      <a:pt x="460" y="226"/>
                    </a:lnTo>
                    <a:lnTo>
                      <a:pt x="451" y="235"/>
                    </a:lnTo>
                    <a:lnTo>
                      <a:pt x="445" y="237"/>
                    </a:lnTo>
                    <a:lnTo>
                      <a:pt x="444" y="235"/>
                    </a:lnTo>
                    <a:lnTo>
                      <a:pt x="447" y="231"/>
                    </a:lnTo>
                    <a:lnTo>
                      <a:pt x="451" y="227"/>
                    </a:lnTo>
                    <a:lnTo>
                      <a:pt x="456" y="222"/>
                    </a:lnTo>
                    <a:lnTo>
                      <a:pt x="460" y="217"/>
                    </a:lnTo>
                    <a:lnTo>
                      <a:pt x="463" y="214"/>
                    </a:lnTo>
                    <a:lnTo>
                      <a:pt x="448" y="225"/>
                    </a:lnTo>
                    <a:lnTo>
                      <a:pt x="430" y="234"/>
                    </a:lnTo>
                    <a:lnTo>
                      <a:pt x="414" y="242"/>
                    </a:lnTo>
                    <a:lnTo>
                      <a:pt x="397" y="250"/>
                    </a:lnTo>
                    <a:lnTo>
                      <a:pt x="382" y="257"/>
                    </a:lnTo>
                    <a:lnTo>
                      <a:pt x="368" y="266"/>
                    </a:lnTo>
                    <a:lnTo>
                      <a:pt x="357" y="277"/>
                    </a:lnTo>
                    <a:lnTo>
                      <a:pt x="351" y="290"/>
                    </a:lnTo>
                    <a:lnTo>
                      <a:pt x="372" y="282"/>
                    </a:lnTo>
                    <a:lnTo>
                      <a:pt x="367" y="289"/>
                    </a:lnTo>
                    <a:lnTo>
                      <a:pt x="363" y="295"/>
                    </a:lnTo>
                    <a:lnTo>
                      <a:pt x="359" y="299"/>
                    </a:lnTo>
                    <a:lnTo>
                      <a:pt x="355" y="301"/>
                    </a:lnTo>
                    <a:lnTo>
                      <a:pt x="353" y="303"/>
                    </a:lnTo>
                    <a:lnTo>
                      <a:pt x="352" y="304"/>
                    </a:lnTo>
                    <a:lnTo>
                      <a:pt x="352" y="303"/>
                    </a:lnTo>
                    <a:lnTo>
                      <a:pt x="355" y="300"/>
                    </a:lnTo>
                    <a:lnTo>
                      <a:pt x="356" y="299"/>
                    </a:lnTo>
                    <a:lnTo>
                      <a:pt x="357" y="296"/>
                    </a:lnTo>
                    <a:lnTo>
                      <a:pt x="357" y="293"/>
                    </a:lnTo>
                    <a:lnTo>
                      <a:pt x="337" y="305"/>
                    </a:lnTo>
                    <a:lnTo>
                      <a:pt x="320" y="320"/>
                    </a:lnTo>
                    <a:lnTo>
                      <a:pt x="306" y="336"/>
                    </a:lnTo>
                    <a:lnTo>
                      <a:pt x="293" y="352"/>
                    </a:lnTo>
                    <a:lnTo>
                      <a:pt x="279" y="370"/>
                    </a:lnTo>
                    <a:lnTo>
                      <a:pt x="264" y="386"/>
                    </a:lnTo>
                    <a:lnTo>
                      <a:pt x="247" y="402"/>
                    </a:lnTo>
                    <a:lnTo>
                      <a:pt x="247" y="399"/>
                    </a:lnTo>
                    <a:lnTo>
                      <a:pt x="248" y="395"/>
                    </a:lnTo>
                    <a:lnTo>
                      <a:pt x="250" y="393"/>
                    </a:lnTo>
                    <a:lnTo>
                      <a:pt x="250" y="390"/>
                    </a:lnTo>
                    <a:lnTo>
                      <a:pt x="251" y="387"/>
                    </a:lnTo>
                    <a:lnTo>
                      <a:pt x="250" y="386"/>
                    </a:lnTo>
                    <a:lnTo>
                      <a:pt x="241" y="394"/>
                    </a:lnTo>
                    <a:lnTo>
                      <a:pt x="237" y="403"/>
                    </a:lnTo>
                    <a:lnTo>
                      <a:pt x="233" y="413"/>
                    </a:lnTo>
                    <a:lnTo>
                      <a:pt x="229" y="422"/>
                    </a:lnTo>
                    <a:lnTo>
                      <a:pt x="221" y="434"/>
                    </a:lnTo>
                    <a:lnTo>
                      <a:pt x="206" y="445"/>
                    </a:lnTo>
                    <a:lnTo>
                      <a:pt x="209" y="436"/>
                    </a:lnTo>
                    <a:lnTo>
                      <a:pt x="204" y="440"/>
                    </a:lnTo>
                    <a:lnTo>
                      <a:pt x="201" y="444"/>
                    </a:lnTo>
                    <a:lnTo>
                      <a:pt x="198" y="448"/>
                    </a:lnTo>
                    <a:lnTo>
                      <a:pt x="196" y="450"/>
                    </a:lnTo>
                    <a:lnTo>
                      <a:pt x="196" y="455"/>
                    </a:lnTo>
                    <a:lnTo>
                      <a:pt x="196" y="456"/>
                    </a:lnTo>
                    <a:lnTo>
                      <a:pt x="196" y="457"/>
                    </a:lnTo>
                    <a:lnTo>
                      <a:pt x="190" y="456"/>
                    </a:lnTo>
                    <a:lnTo>
                      <a:pt x="181" y="460"/>
                    </a:lnTo>
                    <a:lnTo>
                      <a:pt x="171" y="468"/>
                    </a:lnTo>
                    <a:lnTo>
                      <a:pt x="159" y="480"/>
                    </a:lnTo>
                    <a:lnTo>
                      <a:pt x="147" y="494"/>
                    </a:lnTo>
                    <a:lnTo>
                      <a:pt x="133" y="507"/>
                    </a:lnTo>
                    <a:lnTo>
                      <a:pt x="121" y="519"/>
                    </a:lnTo>
                    <a:lnTo>
                      <a:pt x="108" y="530"/>
                    </a:lnTo>
                    <a:lnTo>
                      <a:pt x="96" y="535"/>
                    </a:lnTo>
                    <a:lnTo>
                      <a:pt x="93" y="537"/>
                    </a:lnTo>
                    <a:lnTo>
                      <a:pt x="88" y="537"/>
                    </a:lnTo>
                    <a:lnTo>
                      <a:pt x="82" y="537"/>
                    </a:lnTo>
                    <a:lnTo>
                      <a:pt x="75" y="535"/>
                    </a:lnTo>
                    <a:lnTo>
                      <a:pt x="71" y="537"/>
                    </a:lnTo>
                    <a:lnTo>
                      <a:pt x="71" y="538"/>
                    </a:lnTo>
                    <a:lnTo>
                      <a:pt x="85" y="539"/>
                    </a:lnTo>
                    <a:lnTo>
                      <a:pt x="102" y="539"/>
                    </a:lnTo>
                    <a:lnTo>
                      <a:pt x="119" y="541"/>
                    </a:lnTo>
                    <a:lnTo>
                      <a:pt x="131" y="542"/>
                    </a:lnTo>
                    <a:lnTo>
                      <a:pt x="138" y="546"/>
                    </a:lnTo>
                    <a:lnTo>
                      <a:pt x="139" y="550"/>
                    </a:lnTo>
                    <a:lnTo>
                      <a:pt x="133" y="553"/>
                    </a:lnTo>
                    <a:lnTo>
                      <a:pt x="127" y="557"/>
                    </a:lnTo>
                    <a:lnTo>
                      <a:pt x="120" y="559"/>
                    </a:lnTo>
                    <a:lnTo>
                      <a:pt x="116" y="562"/>
                    </a:lnTo>
                    <a:lnTo>
                      <a:pt x="117" y="567"/>
                    </a:lnTo>
                    <a:lnTo>
                      <a:pt x="129" y="566"/>
                    </a:lnTo>
                    <a:lnTo>
                      <a:pt x="140" y="563"/>
                    </a:lnTo>
                    <a:lnTo>
                      <a:pt x="151" y="559"/>
                    </a:lnTo>
                    <a:lnTo>
                      <a:pt x="164" y="557"/>
                    </a:lnTo>
                    <a:lnTo>
                      <a:pt x="182" y="555"/>
                    </a:lnTo>
                    <a:lnTo>
                      <a:pt x="179" y="551"/>
                    </a:lnTo>
                    <a:lnTo>
                      <a:pt x="174" y="549"/>
                    </a:lnTo>
                    <a:lnTo>
                      <a:pt x="167" y="546"/>
                    </a:lnTo>
                    <a:lnTo>
                      <a:pt x="160" y="543"/>
                    </a:lnTo>
                    <a:lnTo>
                      <a:pt x="154" y="541"/>
                    </a:lnTo>
                    <a:lnTo>
                      <a:pt x="151" y="538"/>
                    </a:lnTo>
                    <a:lnTo>
                      <a:pt x="154" y="534"/>
                    </a:lnTo>
                    <a:lnTo>
                      <a:pt x="160" y="530"/>
                    </a:lnTo>
                    <a:lnTo>
                      <a:pt x="175" y="526"/>
                    </a:lnTo>
                    <a:lnTo>
                      <a:pt x="183" y="531"/>
                    </a:lnTo>
                    <a:lnTo>
                      <a:pt x="174" y="531"/>
                    </a:lnTo>
                    <a:lnTo>
                      <a:pt x="162" y="533"/>
                    </a:lnTo>
                    <a:lnTo>
                      <a:pt x="158" y="535"/>
                    </a:lnTo>
                    <a:lnTo>
                      <a:pt x="156" y="537"/>
                    </a:lnTo>
                    <a:lnTo>
                      <a:pt x="156" y="538"/>
                    </a:lnTo>
                    <a:lnTo>
                      <a:pt x="158" y="539"/>
                    </a:lnTo>
                    <a:lnTo>
                      <a:pt x="160" y="539"/>
                    </a:lnTo>
                    <a:lnTo>
                      <a:pt x="163" y="539"/>
                    </a:lnTo>
                    <a:lnTo>
                      <a:pt x="166" y="541"/>
                    </a:lnTo>
                    <a:lnTo>
                      <a:pt x="169" y="541"/>
                    </a:lnTo>
                    <a:lnTo>
                      <a:pt x="173" y="541"/>
                    </a:lnTo>
                    <a:lnTo>
                      <a:pt x="175" y="541"/>
                    </a:lnTo>
                    <a:lnTo>
                      <a:pt x="177" y="542"/>
                    </a:lnTo>
                    <a:lnTo>
                      <a:pt x="208" y="535"/>
                    </a:lnTo>
                    <a:lnTo>
                      <a:pt x="239" y="527"/>
                    </a:lnTo>
                    <a:lnTo>
                      <a:pt x="236" y="522"/>
                    </a:lnTo>
                    <a:lnTo>
                      <a:pt x="231" y="520"/>
                    </a:lnTo>
                    <a:lnTo>
                      <a:pt x="221" y="520"/>
                    </a:lnTo>
                    <a:lnTo>
                      <a:pt x="212" y="522"/>
                    </a:lnTo>
                    <a:lnTo>
                      <a:pt x="205" y="522"/>
                    </a:lnTo>
                    <a:lnTo>
                      <a:pt x="200" y="522"/>
                    </a:lnTo>
                    <a:lnTo>
                      <a:pt x="231" y="519"/>
                    </a:lnTo>
                    <a:lnTo>
                      <a:pt x="264" y="516"/>
                    </a:lnTo>
                    <a:lnTo>
                      <a:pt x="297" y="512"/>
                    </a:lnTo>
                    <a:lnTo>
                      <a:pt x="329" y="504"/>
                    </a:lnTo>
                    <a:lnTo>
                      <a:pt x="357" y="494"/>
                    </a:lnTo>
                    <a:lnTo>
                      <a:pt x="353" y="500"/>
                    </a:lnTo>
                    <a:lnTo>
                      <a:pt x="370" y="492"/>
                    </a:lnTo>
                    <a:lnTo>
                      <a:pt x="382" y="489"/>
                    </a:lnTo>
                    <a:lnTo>
                      <a:pt x="391" y="488"/>
                    </a:lnTo>
                    <a:lnTo>
                      <a:pt x="398" y="489"/>
                    </a:lnTo>
                    <a:lnTo>
                      <a:pt x="403" y="491"/>
                    </a:lnTo>
                    <a:lnTo>
                      <a:pt x="409" y="491"/>
                    </a:lnTo>
                    <a:lnTo>
                      <a:pt x="415" y="489"/>
                    </a:lnTo>
                    <a:lnTo>
                      <a:pt x="424" y="484"/>
                    </a:lnTo>
                    <a:lnTo>
                      <a:pt x="436" y="476"/>
                    </a:lnTo>
                    <a:lnTo>
                      <a:pt x="442" y="475"/>
                    </a:lnTo>
                    <a:lnTo>
                      <a:pt x="447" y="476"/>
                    </a:lnTo>
                    <a:lnTo>
                      <a:pt x="447" y="477"/>
                    </a:lnTo>
                    <a:lnTo>
                      <a:pt x="447" y="480"/>
                    </a:lnTo>
                    <a:lnTo>
                      <a:pt x="448" y="481"/>
                    </a:lnTo>
                    <a:lnTo>
                      <a:pt x="451" y="483"/>
                    </a:lnTo>
                    <a:lnTo>
                      <a:pt x="457" y="481"/>
                    </a:lnTo>
                    <a:lnTo>
                      <a:pt x="468" y="479"/>
                    </a:lnTo>
                    <a:lnTo>
                      <a:pt x="471" y="477"/>
                    </a:lnTo>
                    <a:lnTo>
                      <a:pt x="474" y="476"/>
                    </a:lnTo>
                    <a:lnTo>
                      <a:pt x="474" y="475"/>
                    </a:lnTo>
                    <a:lnTo>
                      <a:pt x="472" y="473"/>
                    </a:lnTo>
                    <a:lnTo>
                      <a:pt x="471" y="473"/>
                    </a:lnTo>
                    <a:lnTo>
                      <a:pt x="469" y="472"/>
                    </a:lnTo>
                    <a:lnTo>
                      <a:pt x="468" y="472"/>
                    </a:lnTo>
                    <a:lnTo>
                      <a:pt x="482" y="467"/>
                    </a:lnTo>
                    <a:lnTo>
                      <a:pt x="491" y="464"/>
                    </a:lnTo>
                    <a:lnTo>
                      <a:pt x="496" y="463"/>
                    </a:lnTo>
                    <a:lnTo>
                      <a:pt x="502" y="463"/>
                    </a:lnTo>
                    <a:lnTo>
                      <a:pt x="506" y="463"/>
                    </a:lnTo>
                    <a:lnTo>
                      <a:pt x="510" y="461"/>
                    </a:lnTo>
                    <a:lnTo>
                      <a:pt x="518" y="457"/>
                    </a:lnTo>
                    <a:lnTo>
                      <a:pt x="530" y="450"/>
                    </a:lnTo>
                    <a:lnTo>
                      <a:pt x="525" y="465"/>
                    </a:lnTo>
                    <a:lnTo>
                      <a:pt x="553" y="448"/>
                    </a:lnTo>
                    <a:lnTo>
                      <a:pt x="580" y="429"/>
                    </a:lnTo>
                    <a:lnTo>
                      <a:pt x="607" y="412"/>
                    </a:lnTo>
                    <a:lnTo>
                      <a:pt x="634" y="395"/>
                    </a:lnTo>
                    <a:lnTo>
                      <a:pt x="661" y="386"/>
                    </a:lnTo>
                    <a:lnTo>
                      <a:pt x="658" y="391"/>
                    </a:lnTo>
                    <a:lnTo>
                      <a:pt x="656" y="391"/>
                    </a:lnTo>
                    <a:lnTo>
                      <a:pt x="633" y="405"/>
                    </a:lnTo>
                    <a:lnTo>
                      <a:pt x="635" y="406"/>
                    </a:lnTo>
                    <a:lnTo>
                      <a:pt x="658" y="393"/>
                    </a:lnTo>
                    <a:lnTo>
                      <a:pt x="657" y="394"/>
                    </a:lnTo>
                    <a:lnTo>
                      <a:pt x="648" y="401"/>
                    </a:lnTo>
                    <a:lnTo>
                      <a:pt x="635" y="409"/>
                    </a:lnTo>
                    <a:lnTo>
                      <a:pt x="627" y="417"/>
                    </a:lnTo>
                    <a:lnTo>
                      <a:pt x="656" y="399"/>
                    </a:lnTo>
                    <a:lnTo>
                      <a:pt x="688" y="383"/>
                    </a:lnTo>
                    <a:lnTo>
                      <a:pt x="722" y="370"/>
                    </a:lnTo>
                    <a:lnTo>
                      <a:pt x="756" y="358"/>
                    </a:lnTo>
                    <a:lnTo>
                      <a:pt x="788" y="344"/>
                    </a:lnTo>
                    <a:lnTo>
                      <a:pt x="816" y="331"/>
                    </a:lnTo>
                    <a:lnTo>
                      <a:pt x="814" y="329"/>
                    </a:lnTo>
                    <a:lnTo>
                      <a:pt x="811" y="328"/>
                    </a:lnTo>
                    <a:lnTo>
                      <a:pt x="811" y="327"/>
                    </a:lnTo>
                    <a:lnTo>
                      <a:pt x="811" y="325"/>
                    </a:lnTo>
                    <a:lnTo>
                      <a:pt x="811" y="324"/>
                    </a:lnTo>
                    <a:lnTo>
                      <a:pt x="811" y="321"/>
                    </a:lnTo>
                    <a:lnTo>
                      <a:pt x="812" y="319"/>
                    </a:lnTo>
                    <a:lnTo>
                      <a:pt x="814" y="317"/>
                    </a:lnTo>
                    <a:lnTo>
                      <a:pt x="815" y="315"/>
                    </a:lnTo>
                    <a:lnTo>
                      <a:pt x="815" y="312"/>
                    </a:lnTo>
                    <a:lnTo>
                      <a:pt x="815" y="311"/>
                    </a:lnTo>
                    <a:lnTo>
                      <a:pt x="814" y="309"/>
                    </a:lnTo>
                    <a:lnTo>
                      <a:pt x="811" y="308"/>
                    </a:lnTo>
                    <a:lnTo>
                      <a:pt x="808" y="308"/>
                    </a:lnTo>
                    <a:lnTo>
                      <a:pt x="804" y="308"/>
                    </a:lnTo>
                    <a:lnTo>
                      <a:pt x="797" y="309"/>
                    </a:lnTo>
                    <a:lnTo>
                      <a:pt x="793" y="316"/>
                    </a:lnTo>
                    <a:lnTo>
                      <a:pt x="787" y="321"/>
                    </a:lnTo>
                    <a:lnTo>
                      <a:pt x="777" y="324"/>
                    </a:lnTo>
                    <a:lnTo>
                      <a:pt x="768" y="328"/>
                    </a:lnTo>
                    <a:lnTo>
                      <a:pt x="757" y="332"/>
                    </a:lnTo>
                    <a:lnTo>
                      <a:pt x="766" y="320"/>
                    </a:lnTo>
                    <a:lnTo>
                      <a:pt x="781" y="312"/>
                    </a:lnTo>
                    <a:lnTo>
                      <a:pt x="799" y="305"/>
                    </a:lnTo>
                    <a:lnTo>
                      <a:pt x="819" y="299"/>
                    </a:lnTo>
                    <a:lnTo>
                      <a:pt x="839" y="295"/>
                    </a:lnTo>
                    <a:lnTo>
                      <a:pt x="857" y="289"/>
                    </a:lnTo>
                    <a:lnTo>
                      <a:pt x="872" y="284"/>
                    </a:lnTo>
                    <a:lnTo>
                      <a:pt x="882" y="277"/>
                    </a:lnTo>
                    <a:lnTo>
                      <a:pt x="886" y="270"/>
                    </a:lnTo>
                    <a:lnTo>
                      <a:pt x="899" y="276"/>
                    </a:lnTo>
                    <a:lnTo>
                      <a:pt x="900" y="274"/>
                    </a:lnTo>
                    <a:lnTo>
                      <a:pt x="903" y="273"/>
                    </a:lnTo>
                    <a:lnTo>
                      <a:pt x="905" y="270"/>
                    </a:lnTo>
                    <a:lnTo>
                      <a:pt x="908" y="269"/>
                    </a:lnTo>
                    <a:lnTo>
                      <a:pt x="911" y="266"/>
                    </a:lnTo>
                    <a:lnTo>
                      <a:pt x="913" y="264"/>
                    </a:lnTo>
                    <a:lnTo>
                      <a:pt x="915" y="262"/>
                    </a:lnTo>
                    <a:lnTo>
                      <a:pt x="915" y="261"/>
                    </a:lnTo>
                    <a:lnTo>
                      <a:pt x="915" y="260"/>
                    </a:lnTo>
                    <a:lnTo>
                      <a:pt x="912" y="260"/>
                    </a:lnTo>
                    <a:lnTo>
                      <a:pt x="909" y="260"/>
                    </a:lnTo>
                    <a:lnTo>
                      <a:pt x="971" y="243"/>
                    </a:lnTo>
                    <a:lnTo>
                      <a:pt x="961" y="252"/>
                    </a:lnTo>
                    <a:lnTo>
                      <a:pt x="947" y="262"/>
                    </a:lnTo>
                    <a:lnTo>
                      <a:pt x="934" y="272"/>
                    </a:lnTo>
                    <a:lnTo>
                      <a:pt x="919" y="280"/>
                    </a:lnTo>
                    <a:lnTo>
                      <a:pt x="907" y="285"/>
                    </a:lnTo>
                    <a:lnTo>
                      <a:pt x="896" y="285"/>
                    </a:lnTo>
                    <a:lnTo>
                      <a:pt x="895" y="289"/>
                    </a:lnTo>
                    <a:lnTo>
                      <a:pt x="893" y="290"/>
                    </a:lnTo>
                    <a:lnTo>
                      <a:pt x="895" y="292"/>
                    </a:lnTo>
                    <a:lnTo>
                      <a:pt x="895" y="293"/>
                    </a:lnTo>
                    <a:lnTo>
                      <a:pt x="897" y="293"/>
                    </a:lnTo>
                    <a:lnTo>
                      <a:pt x="900" y="293"/>
                    </a:lnTo>
                    <a:lnTo>
                      <a:pt x="903" y="293"/>
                    </a:lnTo>
                    <a:lnTo>
                      <a:pt x="905" y="292"/>
                    </a:lnTo>
                    <a:lnTo>
                      <a:pt x="908" y="292"/>
                    </a:lnTo>
                    <a:lnTo>
                      <a:pt x="909" y="292"/>
                    </a:lnTo>
                    <a:lnTo>
                      <a:pt x="912" y="293"/>
                    </a:lnTo>
                    <a:lnTo>
                      <a:pt x="913" y="293"/>
                    </a:lnTo>
                    <a:lnTo>
                      <a:pt x="913" y="295"/>
                    </a:lnTo>
                    <a:lnTo>
                      <a:pt x="913" y="297"/>
                    </a:lnTo>
                    <a:lnTo>
                      <a:pt x="912" y="300"/>
                    </a:lnTo>
                    <a:lnTo>
                      <a:pt x="923" y="290"/>
                    </a:lnTo>
                    <a:lnTo>
                      <a:pt x="931" y="286"/>
                    </a:lnTo>
                    <a:lnTo>
                      <a:pt x="938" y="285"/>
                    </a:lnTo>
                    <a:lnTo>
                      <a:pt x="943" y="285"/>
                    </a:lnTo>
                    <a:lnTo>
                      <a:pt x="949" y="285"/>
                    </a:lnTo>
                    <a:lnTo>
                      <a:pt x="957" y="285"/>
                    </a:lnTo>
                    <a:lnTo>
                      <a:pt x="966" y="284"/>
                    </a:lnTo>
                    <a:lnTo>
                      <a:pt x="978" y="278"/>
                    </a:lnTo>
                    <a:lnTo>
                      <a:pt x="974" y="276"/>
                    </a:lnTo>
                    <a:lnTo>
                      <a:pt x="974" y="270"/>
                    </a:lnTo>
                    <a:lnTo>
                      <a:pt x="980" y="265"/>
                    </a:lnTo>
                    <a:lnTo>
                      <a:pt x="988" y="260"/>
                    </a:lnTo>
                    <a:lnTo>
                      <a:pt x="996" y="253"/>
                    </a:lnTo>
                    <a:lnTo>
                      <a:pt x="1004" y="247"/>
                    </a:lnTo>
                    <a:lnTo>
                      <a:pt x="1009" y="243"/>
                    </a:lnTo>
                    <a:lnTo>
                      <a:pt x="1011" y="239"/>
                    </a:lnTo>
                    <a:lnTo>
                      <a:pt x="1023" y="235"/>
                    </a:lnTo>
                    <a:lnTo>
                      <a:pt x="1039" y="229"/>
                    </a:lnTo>
                    <a:lnTo>
                      <a:pt x="1052" y="219"/>
                    </a:lnTo>
                    <a:lnTo>
                      <a:pt x="1063" y="213"/>
                    </a:lnTo>
                    <a:lnTo>
                      <a:pt x="1082" y="207"/>
                    </a:lnTo>
                    <a:lnTo>
                      <a:pt x="1106" y="202"/>
                    </a:lnTo>
                    <a:lnTo>
                      <a:pt x="1133" y="195"/>
                    </a:lnTo>
                    <a:lnTo>
                      <a:pt x="1160" y="188"/>
                    </a:lnTo>
                    <a:lnTo>
                      <a:pt x="1186" y="180"/>
                    </a:lnTo>
                    <a:lnTo>
                      <a:pt x="1177" y="186"/>
                    </a:lnTo>
                    <a:lnTo>
                      <a:pt x="1167" y="192"/>
                    </a:lnTo>
                    <a:lnTo>
                      <a:pt x="1159" y="198"/>
                    </a:lnTo>
                    <a:lnTo>
                      <a:pt x="1155" y="204"/>
                    </a:lnTo>
                    <a:lnTo>
                      <a:pt x="1154" y="210"/>
                    </a:lnTo>
                    <a:lnTo>
                      <a:pt x="1166" y="204"/>
                    </a:lnTo>
                    <a:lnTo>
                      <a:pt x="1177" y="200"/>
                    </a:lnTo>
                    <a:lnTo>
                      <a:pt x="1186" y="198"/>
                    </a:lnTo>
                    <a:lnTo>
                      <a:pt x="1194" y="199"/>
                    </a:lnTo>
                    <a:lnTo>
                      <a:pt x="1200" y="203"/>
                    </a:lnTo>
                    <a:lnTo>
                      <a:pt x="1185" y="211"/>
                    </a:lnTo>
                    <a:lnTo>
                      <a:pt x="1174" y="215"/>
                    </a:lnTo>
                    <a:lnTo>
                      <a:pt x="1166" y="217"/>
                    </a:lnTo>
                    <a:lnTo>
                      <a:pt x="1160" y="215"/>
                    </a:lnTo>
                    <a:lnTo>
                      <a:pt x="1156" y="214"/>
                    </a:lnTo>
                    <a:lnTo>
                      <a:pt x="1152" y="210"/>
                    </a:lnTo>
                    <a:lnTo>
                      <a:pt x="1148" y="207"/>
                    </a:lnTo>
                    <a:lnTo>
                      <a:pt x="1143" y="206"/>
                    </a:lnTo>
                    <a:lnTo>
                      <a:pt x="1136" y="206"/>
                    </a:lnTo>
                    <a:lnTo>
                      <a:pt x="1127" y="210"/>
                    </a:lnTo>
                    <a:lnTo>
                      <a:pt x="1112" y="215"/>
                    </a:lnTo>
                    <a:lnTo>
                      <a:pt x="1102" y="227"/>
                    </a:lnTo>
                    <a:lnTo>
                      <a:pt x="1090" y="235"/>
                    </a:lnTo>
                    <a:lnTo>
                      <a:pt x="1074" y="245"/>
                    </a:lnTo>
                    <a:lnTo>
                      <a:pt x="1054" y="254"/>
                    </a:lnTo>
                    <a:lnTo>
                      <a:pt x="1059" y="256"/>
                    </a:lnTo>
                    <a:lnTo>
                      <a:pt x="1063" y="257"/>
                    </a:lnTo>
                    <a:lnTo>
                      <a:pt x="1065" y="258"/>
                    </a:lnTo>
                    <a:lnTo>
                      <a:pt x="1067" y="260"/>
                    </a:lnTo>
                    <a:lnTo>
                      <a:pt x="1069" y="261"/>
                    </a:lnTo>
                    <a:lnTo>
                      <a:pt x="1069" y="262"/>
                    </a:lnTo>
                    <a:lnTo>
                      <a:pt x="1071" y="265"/>
                    </a:lnTo>
                    <a:lnTo>
                      <a:pt x="1074" y="266"/>
                    </a:lnTo>
                    <a:lnTo>
                      <a:pt x="1089" y="253"/>
                    </a:lnTo>
                    <a:lnTo>
                      <a:pt x="1108" y="243"/>
                    </a:lnTo>
                    <a:lnTo>
                      <a:pt x="1129" y="235"/>
                    </a:lnTo>
                    <a:lnTo>
                      <a:pt x="1152" y="230"/>
                    </a:lnTo>
                    <a:lnTo>
                      <a:pt x="1177" y="223"/>
                    </a:lnTo>
                    <a:lnTo>
                      <a:pt x="1200" y="217"/>
                    </a:lnTo>
                    <a:lnTo>
                      <a:pt x="1221" y="207"/>
                    </a:lnTo>
                    <a:lnTo>
                      <a:pt x="1228" y="202"/>
                    </a:lnTo>
                    <a:lnTo>
                      <a:pt x="1231" y="196"/>
                    </a:lnTo>
                    <a:lnTo>
                      <a:pt x="1233" y="191"/>
                    </a:lnTo>
                    <a:lnTo>
                      <a:pt x="1236" y="186"/>
                    </a:lnTo>
                    <a:lnTo>
                      <a:pt x="1243" y="180"/>
                    </a:lnTo>
                    <a:lnTo>
                      <a:pt x="1254" y="175"/>
                    </a:lnTo>
                    <a:lnTo>
                      <a:pt x="1271" y="169"/>
                    </a:lnTo>
                    <a:lnTo>
                      <a:pt x="1227" y="171"/>
                    </a:lnTo>
                    <a:lnTo>
                      <a:pt x="1240" y="169"/>
                    </a:lnTo>
                    <a:lnTo>
                      <a:pt x="1248" y="168"/>
                    </a:lnTo>
                    <a:lnTo>
                      <a:pt x="1252" y="165"/>
                    </a:lnTo>
                    <a:lnTo>
                      <a:pt x="1254" y="163"/>
                    </a:lnTo>
                    <a:lnTo>
                      <a:pt x="1255" y="160"/>
                    </a:lnTo>
                    <a:lnTo>
                      <a:pt x="1258" y="157"/>
                    </a:lnTo>
                    <a:lnTo>
                      <a:pt x="1264" y="153"/>
                    </a:lnTo>
                    <a:lnTo>
                      <a:pt x="1275" y="149"/>
                    </a:lnTo>
                    <a:lnTo>
                      <a:pt x="1260" y="161"/>
                    </a:lnTo>
                    <a:lnTo>
                      <a:pt x="1276" y="159"/>
                    </a:lnTo>
                    <a:lnTo>
                      <a:pt x="1289" y="156"/>
                    </a:lnTo>
                    <a:lnTo>
                      <a:pt x="1298" y="152"/>
                    </a:lnTo>
                    <a:lnTo>
                      <a:pt x="1308" y="147"/>
                    </a:lnTo>
                    <a:lnTo>
                      <a:pt x="1289" y="163"/>
                    </a:lnTo>
                    <a:lnTo>
                      <a:pt x="1298" y="163"/>
                    </a:lnTo>
                    <a:lnTo>
                      <a:pt x="1308" y="161"/>
                    </a:lnTo>
                    <a:lnTo>
                      <a:pt x="1317" y="159"/>
                    </a:lnTo>
                    <a:lnTo>
                      <a:pt x="1324" y="156"/>
                    </a:lnTo>
                    <a:lnTo>
                      <a:pt x="1326" y="153"/>
                    </a:lnTo>
                    <a:lnTo>
                      <a:pt x="1329" y="155"/>
                    </a:lnTo>
                    <a:lnTo>
                      <a:pt x="1332" y="157"/>
                    </a:lnTo>
                    <a:lnTo>
                      <a:pt x="1332" y="160"/>
                    </a:lnTo>
                    <a:lnTo>
                      <a:pt x="1336" y="157"/>
                    </a:lnTo>
                    <a:lnTo>
                      <a:pt x="1344" y="156"/>
                    </a:lnTo>
                    <a:lnTo>
                      <a:pt x="1356" y="155"/>
                    </a:lnTo>
                    <a:lnTo>
                      <a:pt x="1352" y="155"/>
                    </a:lnTo>
                    <a:lnTo>
                      <a:pt x="1348" y="156"/>
                    </a:lnTo>
                    <a:lnTo>
                      <a:pt x="1345" y="156"/>
                    </a:lnTo>
                    <a:lnTo>
                      <a:pt x="1343" y="157"/>
                    </a:lnTo>
                    <a:lnTo>
                      <a:pt x="1341" y="159"/>
                    </a:lnTo>
                    <a:lnTo>
                      <a:pt x="1341" y="160"/>
                    </a:lnTo>
                    <a:lnTo>
                      <a:pt x="1357" y="159"/>
                    </a:lnTo>
                    <a:lnTo>
                      <a:pt x="1367" y="159"/>
                    </a:lnTo>
                    <a:lnTo>
                      <a:pt x="1372" y="160"/>
                    </a:lnTo>
                    <a:lnTo>
                      <a:pt x="1375" y="161"/>
                    </a:lnTo>
                    <a:lnTo>
                      <a:pt x="1376" y="164"/>
                    </a:lnTo>
                    <a:lnTo>
                      <a:pt x="1376" y="167"/>
                    </a:lnTo>
                    <a:lnTo>
                      <a:pt x="1378" y="168"/>
                    </a:lnTo>
                    <a:lnTo>
                      <a:pt x="1383" y="169"/>
                    </a:lnTo>
                    <a:lnTo>
                      <a:pt x="1393" y="169"/>
                    </a:lnTo>
                    <a:lnTo>
                      <a:pt x="1391" y="171"/>
                    </a:lnTo>
                    <a:lnTo>
                      <a:pt x="1391" y="172"/>
                    </a:lnTo>
                    <a:lnTo>
                      <a:pt x="1394" y="174"/>
                    </a:lnTo>
                    <a:lnTo>
                      <a:pt x="1397" y="175"/>
                    </a:lnTo>
                    <a:lnTo>
                      <a:pt x="1401" y="176"/>
                    </a:lnTo>
                    <a:lnTo>
                      <a:pt x="1406" y="178"/>
                    </a:lnTo>
                    <a:lnTo>
                      <a:pt x="1411" y="178"/>
                    </a:lnTo>
                    <a:lnTo>
                      <a:pt x="1414" y="171"/>
                    </a:lnTo>
                    <a:lnTo>
                      <a:pt x="1424" y="167"/>
                    </a:lnTo>
                    <a:lnTo>
                      <a:pt x="1437" y="164"/>
                    </a:lnTo>
                    <a:lnTo>
                      <a:pt x="1453" y="163"/>
                    </a:lnTo>
                    <a:lnTo>
                      <a:pt x="1471" y="164"/>
                    </a:lnTo>
                    <a:lnTo>
                      <a:pt x="1488" y="165"/>
                    </a:lnTo>
                    <a:lnTo>
                      <a:pt x="1505" y="168"/>
                    </a:lnTo>
                    <a:lnTo>
                      <a:pt x="1517" y="172"/>
                    </a:lnTo>
                    <a:lnTo>
                      <a:pt x="1517" y="172"/>
                    </a:lnTo>
                    <a:lnTo>
                      <a:pt x="1536" y="183"/>
                    </a:lnTo>
                    <a:lnTo>
                      <a:pt x="1554" y="196"/>
                    </a:lnTo>
                    <a:lnTo>
                      <a:pt x="1571" y="215"/>
                    </a:lnTo>
                    <a:lnTo>
                      <a:pt x="1568" y="211"/>
                    </a:lnTo>
                    <a:lnTo>
                      <a:pt x="1567" y="213"/>
                    </a:lnTo>
                    <a:lnTo>
                      <a:pt x="1568" y="219"/>
                    </a:lnTo>
                    <a:lnTo>
                      <a:pt x="1571" y="227"/>
                    </a:lnTo>
                    <a:lnTo>
                      <a:pt x="1575" y="238"/>
                    </a:lnTo>
                    <a:lnTo>
                      <a:pt x="1573" y="235"/>
                    </a:lnTo>
                    <a:lnTo>
                      <a:pt x="1573" y="239"/>
                    </a:lnTo>
                    <a:lnTo>
                      <a:pt x="1572" y="241"/>
                    </a:lnTo>
                    <a:lnTo>
                      <a:pt x="1569" y="242"/>
                    </a:lnTo>
                    <a:lnTo>
                      <a:pt x="1567" y="242"/>
                    </a:lnTo>
                    <a:lnTo>
                      <a:pt x="1564" y="242"/>
                    </a:lnTo>
                    <a:lnTo>
                      <a:pt x="1561" y="245"/>
                    </a:lnTo>
                    <a:lnTo>
                      <a:pt x="1561" y="250"/>
                    </a:lnTo>
                    <a:lnTo>
                      <a:pt x="1564" y="260"/>
                    </a:lnTo>
                    <a:lnTo>
                      <a:pt x="1569" y="274"/>
                    </a:lnTo>
                    <a:lnTo>
                      <a:pt x="1576" y="289"/>
                    </a:lnTo>
                    <a:lnTo>
                      <a:pt x="1579" y="305"/>
                    </a:lnTo>
                    <a:lnTo>
                      <a:pt x="1579" y="304"/>
                    </a:lnTo>
                    <a:lnTo>
                      <a:pt x="1577" y="303"/>
                    </a:lnTo>
                    <a:lnTo>
                      <a:pt x="1576" y="304"/>
                    </a:lnTo>
                    <a:lnTo>
                      <a:pt x="1576" y="305"/>
                    </a:lnTo>
                    <a:lnTo>
                      <a:pt x="1575" y="307"/>
                    </a:lnTo>
                    <a:lnTo>
                      <a:pt x="1573" y="308"/>
                    </a:lnTo>
                    <a:lnTo>
                      <a:pt x="1575" y="325"/>
                    </a:lnTo>
                    <a:lnTo>
                      <a:pt x="1573" y="342"/>
                    </a:lnTo>
                    <a:lnTo>
                      <a:pt x="1559" y="360"/>
                    </a:lnTo>
                    <a:lnTo>
                      <a:pt x="1546" y="379"/>
                    </a:lnTo>
                    <a:lnTo>
                      <a:pt x="1536" y="399"/>
                    </a:lnTo>
                    <a:lnTo>
                      <a:pt x="1523" y="417"/>
                    </a:lnTo>
                    <a:lnTo>
                      <a:pt x="1509" y="434"/>
                    </a:lnTo>
                    <a:lnTo>
                      <a:pt x="1494" y="444"/>
                    </a:lnTo>
                    <a:lnTo>
                      <a:pt x="1496" y="442"/>
                    </a:lnTo>
                    <a:lnTo>
                      <a:pt x="1499" y="440"/>
                    </a:lnTo>
                    <a:lnTo>
                      <a:pt x="1503" y="437"/>
                    </a:lnTo>
                    <a:lnTo>
                      <a:pt x="1506" y="434"/>
                    </a:lnTo>
                    <a:lnTo>
                      <a:pt x="1507" y="432"/>
                    </a:lnTo>
                    <a:lnTo>
                      <a:pt x="1509" y="429"/>
                    </a:lnTo>
                    <a:lnTo>
                      <a:pt x="1509" y="428"/>
                    </a:lnTo>
                    <a:lnTo>
                      <a:pt x="1507" y="426"/>
                    </a:lnTo>
                    <a:lnTo>
                      <a:pt x="1505" y="426"/>
                    </a:lnTo>
                    <a:lnTo>
                      <a:pt x="1496" y="433"/>
                    </a:lnTo>
                    <a:lnTo>
                      <a:pt x="1488" y="441"/>
                    </a:lnTo>
                    <a:lnTo>
                      <a:pt x="1483" y="448"/>
                    </a:lnTo>
                    <a:lnTo>
                      <a:pt x="1484" y="445"/>
                    </a:lnTo>
                    <a:lnTo>
                      <a:pt x="1451" y="476"/>
                    </a:lnTo>
                    <a:lnTo>
                      <a:pt x="1414" y="506"/>
                    </a:lnTo>
                    <a:lnTo>
                      <a:pt x="1417" y="502"/>
                    </a:lnTo>
                    <a:lnTo>
                      <a:pt x="1422" y="496"/>
                    </a:lnTo>
                    <a:lnTo>
                      <a:pt x="1429" y="491"/>
                    </a:lnTo>
                    <a:lnTo>
                      <a:pt x="1436" y="484"/>
                    </a:lnTo>
                    <a:lnTo>
                      <a:pt x="1441" y="479"/>
                    </a:lnTo>
                    <a:lnTo>
                      <a:pt x="1444" y="476"/>
                    </a:lnTo>
                    <a:lnTo>
                      <a:pt x="1442" y="473"/>
                    </a:lnTo>
                    <a:lnTo>
                      <a:pt x="1437" y="475"/>
                    </a:lnTo>
                    <a:lnTo>
                      <a:pt x="1425" y="477"/>
                    </a:lnTo>
                    <a:lnTo>
                      <a:pt x="1413" y="485"/>
                    </a:lnTo>
                    <a:lnTo>
                      <a:pt x="1402" y="495"/>
                    </a:lnTo>
                    <a:lnTo>
                      <a:pt x="1391" y="503"/>
                    </a:lnTo>
                    <a:lnTo>
                      <a:pt x="1391" y="503"/>
                    </a:lnTo>
                    <a:lnTo>
                      <a:pt x="1394" y="504"/>
                    </a:lnTo>
                    <a:lnTo>
                      <a:pt x="1395" y="504"/>
                    </a:lnTo>
                    <a:lnTo>
                      <a:pt x="1398" y="503"/>
                    </a:lnTo>
                    <a:lnTo>
                      <a:pt x="1401" y="503"/>
                    </a:lnTo>
                    <a:lnTo>
                      <a:pt x="1403" y="503"/>
                    </a:lnTo>
                    <a:lnTo>
                      <a:pt x="1405" y="503"/>
                    </a:lnTo>
                    <a:lnTo>
                      <a:pt x="1407" y="503"/>
                    </a:lnTo>
                    <a:lnTo>
                      <a:pt x="1407" y="504"/>
                    </a:lnTo>
                    <a:lnTo>
                      <a:pt x="1407" y="504"/>
                    </a:lnTo>
                    <a:lnTo>
                      <a:pt x="1407" y="506"/>
                    </a:lnTo>
                    <a:lnTo>
                      <a:pt x="1406" y="508"/>
                    </a:lnTo>
                    <a:lnTo>
                      <a:pt x="1402" y="510"/>
                    </a:lnTo>
                    <a:lnTo>
                      <a:pt x="1398" y="514"/>
                    </a:lnTo>
                    <a:lnTo>
                      <a:pt x="1397" y="514"/>
                    </a:lnTo>
                    <a:lnTo>
                      <a:pt x="1394" y="514"/>
                    </a:lnTo>
                    <a:lnTo>
                      <a:pt x="1391" y="514"/>
                    </a:lnTo>
                    <a:lnTo>
                      <a:pt x="1388" y="515"/>
                    </a:lnTo>
                    <a:lnTo>
                      <a:pt x="1384" y="515"/>
                    </a:lnTo>
                    <a:lnTo>
                      <a:pt x="1382" y="516"/>
                    </a:lnTo>
                    <a:lnTo>
                      <a:pt x="1379" y="516"/>
                    </a:lnTo>
                    <a:lnTo>
                      <a:pt x="1376" y="516"/>
                    </a:lnTo>
                    <a:lnTo>
                      <a:pt x="1375" y="516"/>
                    </a:lnTo>
                    <a:lnTo>
                      <a:pt x="1374" y="515"/>
                    </a:lnTo>
                    <a:lnTo>
                      <a:pt x="1375" y="514"/>
                    </a:lnTo>
                    <a:lnTo>
                      <a:pt x="1376" y="512"/>
                    </a:lnTo>
                    <a:lnTo>
                      <a:pt x="1352" y="528"/>
                    </a:lnTo>
                    <a:lnTo>
                      <a:pt x="1330" y="543"/>
                    </a:lnTo>
                    <a:lnTo>
                      <a:pt x="1309" y="561"/>
                    </a:lnTo>
                    <a:lnTo>
                      <a:pt x="1306" y="562"/>
                    </a:lnTo>
                    <a:lnTo>
                      <a:pt x="1305" y="561"/>
                    </a:lnTo>
                    <a:lnTo>
                      <a:pt x="1305" y="561"/>
                    </a:lnTo>
                    <a:lnTo>
                      <a:pt x="1306" y="559"/>
                    </a:lnTo>
                    <a:lnTo>
                      <a:pt x="1308" y="558"/>
                    </a:lnTo>
                    <a:lnTo>
                      <a:pt x="1310" y="557"/>
                    </a:lnTo>
                    <a:lnTo>
                      <a:pt x="1312" y="555"/>
                    </a:lnTo>
                    <a:lnTo>
                      <a:pt x="1313" y="554"/>
                    </a:lnTo>
                    <a:lnTo>
                      <a:pt x="1316" y="553"/>
                    </a:lnTo>
                    <a:lnTo>
                      <a:pt x="1317" y="553"/>
                    </a:lnTo>
                    <a:lnTo>
                      <a:pt x="1320" y="551"/>
                    </a:lnTo>
                    <a:lnTo>
                      <a:pt x="1321" y="550"/>
                    </a:lnTo>
                    <a:lnTo>
                      <a:pt x="1321" y="549"/>
                    </a:lnTo>
                    <a:lnTo>
                      <a:pt x="1321" y="547"/>
                    </a:lnTo>
                    <a:lnTo>
                      <a:pt x="1321" y="547"/>
                    </a:lnTo>
                    <a:lnTo>
                      <a:pt x="1320" y="547"/>
                    </a:lnTo>
                    <a:lnTo>
                      <a:pt x="1318" y="547"/>
                    </a:lnTo>
                    <a:lnTo>
                      <a:pt x="1317" y="546"/>
                    </a:lnTo>
                    <a:lnTo>
                      <a:pt x="1317" y="546"/>
                    </a:lnTo>
                    <a:lnTo>
                      <a:pt x="1318" y="546"/>
                    </a:lnTo>
                    <a:lnTo>
                      <a:pt x="1320" y="545"/>
                    </a:lnTo>
                    <a:lnTo>
                      <a:pt x="1322" y="543"/>
                    </a:lnTo>
                    <a:lnTo>
                      <a:pt x="1326" y="542"/>
                    </a:lnTo>
                    <a:lnTo>
                      <a:pt x="1333" y="541"/>
                    </a:lnTo>
                    <a:lnTo>
                      <a:pt x="1330" y="537"/>
                    </a:lnTo>
                    <a:lnTo>
                      <a:pt x="1324" y="535"/>
                    </a:lnTo>
                    <a:lnTo>
                      <a:pt x="1314" y="539"/>
                    </a:lnTo>
                    <a:lnTo>
                      <a:pt x="1305" y="543"/>
                    </a:lnTo>
                    <a:lnTo>
                      <a:pt x="1293" y="550"/>
                    </a:lnTo>
                    <a:lnTo>
                      <a:pt x="1281" y="557"/>
                    </a:lnTo>
                    <a:lnTo>
                      <a:pt x="1268" y="563"/>
                    </a:lnTo>
                    <a:lnTo>
                      <a:pt x="1256" y="567"/>
                    </a:lnTo>
                    <a:lnTo>
                      <a:pt x="1297" y="537"/>
                    </a:lnTo>
                    <a:lnTo>
                      <a:pt x="1254" y="547"/>
                    </a:lnTo>
                    <a:lnTo>
                      <a:pt x="1210" y="563"/>
                    </a:lnTo>
                    <a:lnTo>
                      <a:pt x="1167" y="584"/>
                    </a:lnTo>
                    <a:lnTo>
                      <a:pt x="1124" y="605"/>
                    </a:lnTo>
                    <a:lnTo>
                      <a:pt x="1082" y="627"/>
                    </a:lnTo>
                    <a:lnTo>
                      <a:pt x="1043" y="644"/>
                    </a:lnTo>
                    <a:lnTo>
                      <a:pt x="1057" y="641"/>
                    </a:lnTo>
                    <a:lnTo>
                      <a:pt x="1067" y="637"/>
                    </a:lnTo>
                    <a:lnTo>
                      <a:pt x="1077" y="636"/>
                    </a:lnTo>
                    <a:lnTo>
                      <a:pt x="1082" y="636"/>
                    </a:lnTo>
                    <a:lnTo>
                      <a:pt x="1086" y="641"/>
                    </a:lnTo>
                    <a:lnTo>
                      <a:pt x="1069" y="651"/>
                    </a:lnTo>
                    <a:lnTo>
                      <a:pt x="1057" y="656"/>
                    </a:lnTo>
                    <a:lnTo>
                      <a:pt x="1047" y="662"/>
                    </a:lnTo>
                    <a:lnTo>
                      <a:pt x="1039" y="666"/>
                    </a:lnTo>
                    <a:lnTo>
                      <a:pt x="1028" y="670"/>
                    </a:lnTo>
                    <a:lnTo>
                      <a:pt x="1016" y="675"/>
                    </a:lnTo>
                    <a:lnTo>
                      <a:pt x="1000" y="682"/>
                    </a:lnTo>
                    <a:lnTo>
                      <a:pt x="1004" y="679"/>
                    </a:lnTo>
                    <a:lnTo>
                      <a:pt x="988" y="683"/>
                    </a:lnTo>
                    <a:lnTo>
                      <a:pt x="971" y="690"/>
                    </a:lnTo>
                    <a:lnTo>
                      <a:pt x="955" y="698"/>
                    </a:lnTo>
                    <a:lnTo>
                      <a:pt x="940" y="702"/>
                    </a:lnTo>
                    <a:lnTo>
                      <a:pt x="928" y="703"/>
                    </a:lnTo>
                    <a:lnTo>
                      <a:pt x="934" y="698"/>
                    </a:lnTo>
                    <a:lnTo>
                      <a:pt x="940" y="695"/>
                    </a:lnTo>
                    <a:lnTo>
                      <a:pt x="949" y="694"/>
                    </a:lnTo>
                    <a:lnTo>
                      <a:pt x="955" y="691"/>
                    </a:lnTo>
                    <a:lnTo>
                      <a:pt x="961" y="687"/>
                    </a:lnTo>
                    <a:lnTo>
                      <a:pt x="961" y="682"/>
                    </a:lnTo>
                    <a:lnTo>
                      <a:pt x="901" y="706"/>
                    </a:lnTo>
                    <a:lnTo>
                      <a:pt x="913" y="697"/>
                    </a:lnTo>
                    <a:lnTo>
                      <a:pt x="930" y="690"/>
                    </a:lnTo>
                    <a:lnTo>
                      <a:pt x="949" y="683"/>
                    </a:lnTo>
                    <a:lnTo>
                      <a:pt x="967" y="676"/>
                    </a:lnTo>
                    <a:lnTo>
                      <a:pt x="982" y="671"/>
                    </a:lnTo>
                    <a:lnTo>
                      <a:pt x="985" y="670"/>
                    </a:lnTo>
                    <a:lnTo>
                      <a:pt x="985" y="670"/>
                    </a:lnTo>
                    <a:lnTo>
                      <a:pt x="985" y="670"/>
                    </a:lnTo>
                    <a:lnTo>
                      <a:pt x="984" y="671"/>
                    </a:lnTo>
                    <a:lnTo>
                      <a:pt x="982" y="672"/>
                    </a:lnTo>
                    <a:lnTo>
                      <a:pt x="978" y="674"/>
                    </a:lnTo>
                    <a:lnTo>
                      <a:pt x="976" y="675"/>
                    </a:lnTo>
                    <a:lnTo>
                      <a:pt x="971" y="678"/>
                    </a:lnTo>
                    <a:lnTo>
                      <a:pt x="969" y="680"/>
                    </a:lnTo>
                    <a:lnTo>
                      <a:pt x="965" y="682"/>
                    </a:lnTo>
                    <a:lnTo>
                      <a:pt x="962" y="684"/>
                    </a:lnTo>
                    <a:lnTo>
                      <a:pt x="961" y="686"/>
                    </a:lnTo>
                    <a:lnTo>
                      <a:pt x="959" y="688"/>
                    </a:lnTo>
                    <a:lnTo>
                      <a:pt x="959" y="690"/>
                    </a:lnTo>
                    <a:lnTo>
                      <a:pt x="961" y="691"/>
                    </a:lnTo>
                    <a:lnTo>
                      <a:pt x="985" y="682"/>
                    </a:lnTo>
                    <a:lnTo>
                      <a:pt x="1003" y="672"/>
                    </a:lnTo>
                    <a:lnTo>
                      <a:pt x="1017" y="663"/>
                    </a:lnTo>
                    <a:lnTo>
                      <a:pt x="1028" y="654"/>
                    </a:lnTo>
                    <a:lnTo>
                      <a:pt x="1038" y="643"/>
                    </a:lnTo>
                    <a:lnTo>
                      <a:pt x="1048" y="632"/>
                    </a:lnTo>
                    <a:lnTo>
                      <a:pt x="1051" y="627"/>
                    </a:lnTo>
                    <a:lnTo>
                      <a:pt x="1048" y="625"/>
                    </a:lnTo>
                    <a:lnTo>
                      <a:pt x="1042" y="625"/>
                    </a:lnTo>
                    <a:lnTo>
                      <a:pt x="1034" y="627"/>
                    </a:lnTo>
                    <a:lnTo>
                      <a:pt x="1024" y="631"/>
                    </a:lnTo>
                    <a:lnTo>
                      <a:pt x="1016" y="633"/>
                    </a:lnTo>
                    <a:lnTo>
                      <a:pt x="1011" y="635"/>
                    </a:lnTo>
                    <a:lnTo>
                      <a:pt x="984" y="656"/>
                    </a:lnTo>
                    <a:lnTo>
                      <a:pt x="953" y="675"/>
                    </a:lnTo>
                    <a:lnTo>
                      <a:pt x="915" y="691"/>
                    </a:lnTo>
                    <a:lnTo>
                      <a:pt x="874" y="705"/>
                    </a:lnTo>
                    <a:lnTo>
                      <a:pt x="839" y="706"/>
                    </a:lnTo>
                    <a:lnTo>
                      <a:pt x="832" y="715"/>
                    </a:lnTo>
                    <a:lnTo>
                      <a:pt x="827" y="723"/>
                    </a:lnTo>
                    <a:lnTo>
                      <a:pt x="824" y="730"/>
                    </a:lnTo>
                    <a:lnTo>
                      <a:pt x="820" y="738"/>
                    </a:lnTo>
                    <a:lnTo>
                      <a:pt x="815" y="745"/>
                    </a:lnTo>
                    <a:lnTo>
                      <a:pt x="804" y="752"/>
                    </a:lnTo>
                    <a:lnTo>
                      <a:pt x="787" y="760"/>
                    </a:lnTo>
                    <a:lnTo>
                      <a:pt x="797" y="745"/>
                    </a:lnTo>
                    <a:lnTo>
                      <a:pt x="783" y="748"/>
                    </a:lnTo>
                    <a:lnTo>
                      <a:pt x="773" y="752"/>
                    </a:lnTo>
                    <a:lnTo>
                      <a:pt x="801" y="729"/>
                    </a:lnTo>
                    <a:lnTo>
                      <a:pt x="828" y="707"/>
                    </a:lnTo>
                    <a:lnTo>
                      <a:pt x="811" y="709"/>
                    </a:lnTo>
                    <a:lnTo>
                      <a:pt x="792" y="717"/>
                    </a:lnTo>
                    <a:lnTo>
                      <a:pt x="773" y="729"/>
                    </a:lnTo>
                    <a:lnTo>
                      <a:pt x="753" y="744"/>
                    </a:lnTo>
                    <a:lnTo>
                      <a:pt x="734" y="758"/>
                    </a:lnTo>
                    <a:lnTo>
                      <a:pt x="715" y="771"/>
                    </a:lnTo>
                    <a:lnTo>
                      <a:pt x="715" y="769"/>
                    </a:lnTo>
                    <a:lnTo>
                      <a:pt x="718" y="768"/>
                    </a:lnTo>
                    <a:lnTo>
                      <a:pt x="720" y="765"/>
                    </a:lnTo>
                    <a:lnTo>
                      <a:pt x="723" y="762"/>
                    </a:lnTo>
                    <a:lnTo>
                      <a:pt x="727" y="760"/>
                    </a:lnTo>
                    <a:lnTo>
                      <a:pt x="730" y="757"/>
                    </a:lnTo>
                    <a:lnTo>
                      <a:pt x="731" y="754"/>
                    </a:lnTo>
                    <a:lnTo>
                      <a:pt x="702" y="769"/>
                    </a:lnTo>
                    <a:lnTo>
                      <a:pt x="676" y="789"/>
                    </a:lnTo>
                    <a:lnTo>
                      <a:pt x="653" y="812"/>
                    </a:lnTo>
                    <a:lnTo>
                      <a:pt x="638" y="828"/>
                    </a:lnTo>
                    <a:lnTo>
                      <a:pt x="638" y="828"/>
                    </a:lnTo>
                    <a:lnTo>
                      <a:pt x="654" y="839"/>
                    </a:lnTo>
                    <a:lnTo>
                      <a:pt x="650" y="840"/>
                    </a:lnTo>
                    <a:lnTo>
                      <a:pt x="649" y="842"/>
                    </a:lnTo>
                    <a:lnTo>
                      <a:pt x="648" y="846"/>
                    </a:lnTo>
                    <a:lnTo>
                      <a:pt x="649" y="848"/>
                    </a:lnTo>
                    <a:lnTo>
                      <a:pt x="640" y="843"/>
                    </a:lnTo>
                    <a:lnTo>
                      <a:pt x="630" y="839"/>
                    </a:lnTo>
                    <a:lnTo>
                      <a:pt x="629" y="838"/>
                    </a:lnTo>
                    <a:lnTo>
                      <a:pt x="617" y="853"/>
                    </a:lnTo>
                    <a:lnTo>
                      <a:pt x="623" y="854"/>
                    </a:lnTo>
                    <a:lnTo>
                      <a:pt x="631" y="855"/>
                    </a:lnTo>
                    <a:lnTo>
                      <a:pt x="625" y="848"/>
                    </a:lnTo>
                    <a:lnTo>
                      <a:pt x="642" y="853"/>
                    </a:lnTo>
                    <a:lnTo>
                      <a:pt x="656" y="857"/>
                    </a:lnTo>
                    <a:lnTo>
                      <a:pt x="665" y="858"/>
                    </a:lnTo>
                    <a:lnTo>
                      <a:pt x="673" y="859"/>
                    </a:lnTo>
                    <a:lnTo>
                      <a:pt x="675" y="861"/>
                    </a:lnTo>
                    <a:lnTo>
                      <a:pt x="679" y="863"/>
                    </a:lnTo>
                    <a:lnTo>
                      <a:pt x="684" y="865"/>
                    </a:lnTo>
                    <a:lnTo>
                      <a:pt x="691" y="869"/>
                    </a:lnTo>
                    <a:lnTo>
                      <a:pt x="696" y="874"/>
                    </a:lnTo>
                    <a:lnTo>
                      <a:pt x="702" y="881"/>
                    </a:lnTo>
                    <a:lnTo>
                      <a:pt x="703" y="890"/>
                    </a:lnTo>
                    <a:lnTo>
                      <a:pt x="700" y="902"/>
                    </a:lnTo>
                    <a:lnTo>
                      <a:pt x="693" y="917"/>
                    </a:lnTo>
                    <a:lnTo>
                      <a:pt x="688" y="918"/>
                    </a:lnTo>
                    <a:lnTo>
                      <a:pt x="684" y="918"/>
                    </a:lnTo>
                    <a:lnTo>
                      <a:pt x="681" y="918"/>
                    </a:lnTo>
                    <a:lnTo>
                      <a:pt x="679" y="917"/>
                    </a:lnTo>
                    <a:lnTo>
                      <a:pt x="679" y="916"/>
                    </a:lnTo>
                    <a:lnTo>
                      <a:pt x="679" y="914"/>
                    </a:lnTo>
                    <a:lnTo>
                      <a:pt x="679" y="913"/>
                    </a:lnTo>
                    <a:lnTo>
                      <a:pt x="680" y="910"/>
                    </a:lnTo>
                    <a:lnTo>
                      <a:pt x="680" y="908"/>
                    </a:lnTo>
                    <a:lnTo>
                      <a:pt x="681" y="906"/>
                    </a:lnTo>
                    <a:lnTo>
                      <a:pt x="680" y="904"/>
                    </a:lnTo>
                    <a:lnTo>
                      <a:pt x="679" y="901"/>
                    </a:lnTo>
                    <a:lnTo>
                      <a:pt x="672" y="906"/>
                    </a:lnTo>
                    <a:lnTo>
                      <a:pt x="660" y="909"/>
                    </a:lnTo>
                    <a:lnTo>
                      <a:pt x="645" y="910"/>
                    </a:lnTo>
                    <a:lnTo>
                      <a:pt x="629" y="912"/>
                    </a:lnTo>
                    <a:lnTo>
                      <a:pt x="615" y="914"/>
                    </a:lnTo>
                    <a:lnTo>
                      <a:pt x="606" y="918"/>
                    </a:lnTo>
                    <a:lnTo>
                      <a:pt x="645" y="922"/>
                    </a:lnTo>
                    <a:lnTo>
                      <a:pt x="619" y="929"/>
                    </a:lnTo>
                    <a:lnTo>
                      <a:pt x="594" y="936"/>
                    </a:lnTo>
                    <a:lnTo>
                      <a:pt x="573" y="940"/>
                    </a:lnTo>
                    <a:lnTo>
                      <a:pt x="573" y="937"/>
                    </a:lnTo>
                    <a:lnTo>
                      <a:pt x="575" y="935"/>
                    </a:lnTo>
                    <a:lnTo>
                      <a:pt x="576" y="931"/>
                    </a:lnTo>
                    <a:lnTo>
                      <a:pt x="577" y="926"/>
                    </a:lnTo>
                    <a:lnTo>
                      <a:pt x="580" y="924"/>
                    </a:lnTo>
                    <a:lnTo>
                      <a:pt x="583" y="922"/>
                    </a:lnTo>
                    <a:lnTo>
                      <a:pt x="565" y="925"/>
                    </a:lnTo>
                    <a:lnTo>
                      <a:pt x="554" y="926"/>
                    </a:lnTo>
                    <a:lnTo>
                      <a:pt x="542" y="941"/>
                    </a:lnTo>
                    <a:lnTo>
                      <a:pt x="519" y="964"/>
                    </a:lnTo>
                    <a:lnTo>
                      <a:pt x="518" y="965"/>
                    </a:lnTo>
                    <a:lnTo>
                      <a:pt x="518" y="967"/>
                    </a:lnTo>
                    <a:lnTo>
                      <a:pt x="518" y="967"/>
                    </a:lnTo>
                    <a:lnTo>
                      <a:pt x="517" y="967"/>
                    </a:lnTo>
                    <a:lnTo>
                      <a:pt x="517" y="968"/>
                    </a:lnTo>
                    <a:lnTo>
                      <a:pt x="515" y="968"/>
                    </a:lnTo>
                    <a:lnTo>
                      <a:pt x="514" y="969"/>
                    </a:lnTo>
                    <a:lnTo>
                      <a:pt x="513" y="972"/>
                    </a:lnTo>
                    <a:lnTo>
                      <a:pt x="509" y="975"/>
                    </a:lnTo>
                    <a:lnTo>
                      <a:pt x="505" y="978"/>
                    </a:lnTo>
                    <a:lnTo>
                      <a:pt x="499" y="980"/>
                    </a:lnTo>
                    <a:lnTo>
                      <a:pt x="494" y="982"/>
                    </a:lnTo>
                    <a:lnTo>
                      <a:pt x="492" y="982"/>
                    </a:lnTo>
                    <a:lnTo>
                      <a:pt x="487" y="980"/>
                    </a:lnTo>
                    <a:lnTo>
                      <a:pt x="480" y="978"/>
                    </a:lnTo>
                    <a:lnTo>
                      <a:pt x="474" y="971"/>
                    </a:lnTo>
                    <a:lnTo>
                      <a:pt x="465" y="957"/>
                    </a:lnTo>
                    <a:lnTo>
                      <a:pt x="467" y="947"/>
                    </a:lnTo>
                    <a:lnTo>
                      <a:pt x="468" y="939"/>
                    </a:lnTo>
                    <a:lnTo>
                      <a:pt x="471" y="935"/>
                    </a:lnTo>
                    <a:lnTo>
                      <a:pt x="472" y="933"/>
                    </a:lnTo>
                    <a:lnTo>
                      <a:pt x="474" y="932"/>
                    </a:lnTo>
                    <a:lnTo>
                      <a:pt x="487" y="918"/>
                    </a:lnTo>
                    <a:lnTo>
                      <a:pt x="498" y="890"/>
                    </a:lnTo>
                    <a:lnTo>
                      <a:pt x="505" y="896"/>
                    </a:lnTo>
                    <a:lnTo>
                      <a:pt x="514" y="886"/>
                    </a:lnTo>
                    <a:lnTo>
                      <a:pt x="519" y="881"/>
                    </a:lnTo>
                    <a:lnTo>
                      <a:pt x="521" y="877"/>
                    </a:lnTo>
                    <a:lnTo>
                      <a:pt x="519" y="874"/>
                    </a:lnTo>
                    <a:lnTo>
                      <a:pt x="518" y="871"/>
                    </a:lnTo>
                    <a:lnTo>
                      <a:pt x="517" y="869"/>
                    </a:lnTo>
                    <a:lnTo>
                      <a:pt x="518" y="866"/>
                    </a:lnTo>
                    <a:lnTo>
                      <a:pt x="519" y="865"/>
                    </a:lnTo>
                    <a:lnTo>
                      <a:pt x="518" y="866"/>
                    </a:lnTo>
                    <a:lnTo>
                      <a:pt x="518" y="867"/>
                    </a:lnTo>
                    <a:lnTo>
                      <a:pt x="518" y="867"/>
                    </a:lnTo>
                    <a:lnTo>
                      <a:pt x="518" y="869"/>
                    </a:lnTo>
                    <a:lnTo>
                      <a:pt x="518" y="870"/>
                    </a:lnTo>
                    <a:lnTo>
                      <a:pt x="529" y="857"/>
                    </a:lnTo>
                    <a:lnTo>
                      <a:pt x="536" y="848"/>
                    </a:lnTo>
                    <a:lnTo>
                      <a:pt x="541" y="844"/>
                    </a:lnTo>
                    <a:lnTo>
                      <a:pt x="546" y="843"/>
                    </a:lnTo>
                    <a:lnTo>
                      <a:pt x="549" y="843"/>
                    </a:lnTo>
                    <a:lnTo>
                      <a:pt x="553" y="843"/>
                    </a:lnTo>
                    <a:lnTo>
                      <a:pt x="559" y="839"/>
                    </a:lnTo>
                    <a:lnTo>
                      <a:pt x="565" y="834"/>
                    </a:lnTo>
                    <a:lnTo>
                      <a:pt x="561" y="840"/>
                    </a:lnTo>
                    <a:lnTo>
                      <a:pt x="556" y="848"/>
                    </a:lnTo>
                    <a:lnTo>
                      <a:pt x="549" y="857"/>
                    </a:lnTo>
                    <a:lnTo>
                      <a:pt x="544" y="865"/>
                    </a:lnTo>
                    <a:lnTo>
                      <a:pt x="540" y="870"/>
                    </a:lnTo>
                    <a:lnTo>
                      <a:pt x="540" y="874"/>
                    </a:lnTo>
                    <a:lnTo>
                      <a:pt x="544" y="875"/>
                    </a:lnTo>
                    <a:lnTo>
                      <a:pt x="560" y="853"/>
                    </a:lnTo>
                    <a:lnTo>
                      <a:pt x="579" y="827"/>
                    </a:lnTo>
                    <a:lnTo>
                      <a:pt x="599" y="801"/>
                    </a:lnTo>
                    <a:lnTo>
                      <a:pt x="621" y="777"/>
                    </a:lnTo>
                    <a:lnTo>
                      <a:pt x="641" y="756"/>
                    </a:lnTo>
                    <a:lnTo>
                      <a:pt x="660" y="738"/>
                    </a:lnTo>
                    <a:lnTo>
                      <a:pt x="700" y="710"/>
                    </a:lnTo>
                    <a:lnTo>
                      <a:pt x="741" y="687"/>
                    </a:lnTo>
                    <a:lnTo>
                      <a:pt x="780" y="668"/>
                    </a:lnTo>
                    <a:lnTo>
                      <a:pt x="820" y="654"/>
                    </a:lnTo>
                    <a:lnTo>
                      <a:pt x="861" y="640"/>
                    </a:lnTo>
                    <a:lnTo>
                      <a:pt x="904" y="627"/>
                    </a:lnTo>
                    <a:lnTo>
                      <a:pt x="907" y="627"/>
                    </a:lnTo>
                    <a:lnTo>
                      <a:pt x="908" y="628"/>
                    </a:lnTo>
                    <a:lnTo>
                      <a:pt x="908" y="628"/>
                    </a:lnTo>
                    <a:lnTo>
                      <a:pt x="907" y="629"/>
                    </a:lnTo>
                    <a:lnTo>
                      <a:pt x="905" y="631"/>
                    </a:lnTo>
                    <a:lnTo>
                      <a:pt x="904" y="632"/>
                    </a:lnTo>
                    <a:lnTo>
                      <a:pt x="903" y="632"/>
                    </a:lnTo>
                    <a:lnTo>
                      <a:pt x="903" y="633"/>
                    </a:lnTo>
                    <a:lnTo>
                      <a:pt x="904" y="633"/>
                    </a:lnTo>
                    <a:lnTo>
                      <a:pt x="918" y="625"/>
                    </a:lnTo>
                    <a:lnTo>
                      <a:pt x="935" y="617"/>
                    </a:lnTo>
                    <a:lnTo>
                      <a:pt x="954" y="612"/>
                    </a:lnTo>
                    <a:lnTo>
                      <a:pt x="973" y="606"/>
                    </a:lnTo>
                    <a:lnTo>
                      <a:pt x="988" y="602"/>
                    </a:lnTo>
                    <a:lnTo>
                      <a:pt x="998" y="598"/>
                    </a:lnTo>
                    <a:lnTo>
                      <a:pt x="1001" y="593"/>
                    </a:lnTo>
                    <a:lnTo>
                      <a:pt x="1015" y="593"/>
                    </a:lnTo>
                    <a:lnTo>
                      <a:pt x="1024" y="596"/>
                    </a:lnTo>
                    <a:lnTo>
                      <a:pt x="1031" y="598"/>
                    </a:lnTo>
                    <a:lnTo>
                      <a:pt x="1059" y="580"/>
                    </a:lnTo>
                    <a:lnTo>
                      <a:pt x="1092" y="563"/>
                    </a:lnTo>
                    <a:lnTo>
                      <a:pt x="1075" y="573"/>
                    </a:lnTo>
                    <a:lnTo>
                      <a:pt x="1078" y="574"/>
                    </a:lnTo>
                    <a:lnTo>
                      <a:pt x="1101" y="561"/>
                    </a:lnTo>
                    <a:lnTo>
                      <a:pt x="1100" y="559"/>
                    </a:lnTo>
                    <a:lnTo>
                      <a:pt x="1135" y="545"/>
                    </a:lnTo>
                    <a:lnTo>
                      <a:pt x="1173" y="528"/>
                    </a:lnTo>
                    <a:lnTo>
                      <a:pt x="1208" y="511"/>
                    </a:lnTo>
                    <a:lnTo>
                      <a:pt x="1241" y="494"/>
                    </a:lnTo>
                    <a:lnTo>
                      <a:pt x="1272" y="473"/>
                    </a:lnTo>
                    <a:lnTo>
                      <a:pt x="1267" y="477"/>
                    </a:lnTo>
                    <a:lnTo>
                      <a:pt x="1264" y="480"/>
                    </a:lnTo>
                    <a:lnTo>
                      <a:pt x="1263" y="483"/>
                    </a:lnTo>
                    <a:lnTo>
                      <a:pt x="1263" y="484"/>
                    </a:lnTo>
                    <a:lnTo>
                      <a:pt x="1263" y="485"/>
                    </a:lnTo>
                    <a:lnTo>
                      <a:pt x="1264" y="487"/>
                    </a:lnTo>
                    <a:lnTo>
                      <a:pt x="1266" y="487"/>
                    </a:lnTo>
                    <a:lnTo>
                      <a:pt x="1268" y="487"/>
                    </a:lnTo>
                    <a:lnTo>
                      <a:pt x="1270" y="488"/>
                    </a:lnTo>
                    <a:lnTo>
                      <a:pt x="1272" y="488"/>
                    </a:lnTo>
                    <a:lnTo>
                      <a:pt x="1274" y="488"/>
                    </a:lnTo>
                    <a:lnTo>
                      <a:pt x="1275" y="489"/>
                    </a:lnTo>
                    <a:lnTo>
                      <a:pt x="1275" y="489"/>
                    </a:lnTo>
                    <a:lnTo>
                      <a:pt x="1275" y="491"/>
                    </a:lnTo>
                    <a:lnTo>
                      <a:pt x="1289" y="476"/>
                    </a:lnTo>
                    <a:lnTo>
                      <a:pt x="1312" y="459"/>
                    </a:lnTo>
                    <a:lnTo>
                      <a:pt x="1340" y="441"/>
                    </a:lnTo>
                    <a:lnTo>
                      <a:pt x="1370" y="425"/>
                    </a:lnTo>
                    <a:lnTo>
                      <a:pt x="1398" y="407"/>
                    </a:lnTo>
                    <a:lnTo>
                      <a:pt x="1399" y="409"/>
                    </a:lnTo>
                    <a:lnTo>
                      <a:pt x="1401" y="410"/>
                    </a:lnTo>
                    <a:lnTo>
                      <a:pt x="1402" y="412"/>
                    </a:lnTo>
                    <a:lnTo>
                      <a:pt x="1403" y="413"/>
                    </a:lnTo>
                    <a:lnTo>
                      <a:pt x="1403" y="416"/>
                    </a:lnTo>
                    <a:lnTo>
                      <a:pt x="1402" y="418"/>
                    </a:lnTo>
                    <a:lnTo>
                      <a:pt x="1424" y="394"/>
                    </a:lnTo>
                    <a:lnTo>
                      <a:pt x="1422" y="401"/>
                    </a:lnTo>
                    <a:lnTo>
                      <a:pt x="1445" y="385"/>
                    </a:lnTo>
                    <a:lnTo>
                      <a:pt x="1463" y="366"/>
                    </a:lnTo>
                    <a:lnTo>
                      <a:pt x="1476" y="347"/>
                    </a:lnTo>
                    <a:lnTo>
                      <a:pt x="1486" y="329"/>
                    </a:lnTo>
                    <a:lnTo>
                      <a:pt x="1492" y="315"/>
                    </a:lnTo>
                    <a:lnTo>
                      <a:pt x="1496" y="307"/>
                    </a:lnTo>
                    <a:lnTo>
                      <a:pt x="1498" y="311"/>
                    </a:lnTo>
                    <a:lnTo>
                      <a:pt x="1498" y="315"/>
                    </a:lnTo>
                    <a:lnTo>
                      <a:pt x="1499" y="317"/>
                    </a:lnTo>
                    <a:lnTo>
                      <a:pt x="1499" y="320"/>
                    </a:lnTo>
                    <a:lnTo>
                      <a:pt x="1500" y="321"/>
                    </a:lnTo>
                    <a:lnTo>
                      <a:pt x="1503" y="324"/>
                    </a:lnTo>
                    <a:lnTo>
                      <a:pt x="1507" y="309"/>
                    </a:lnTo>
                    <a:lnTo>
                      <a:pt x="1507" y="295"/>
                    </a:lnTo>
                    <a:lnTo>
                      <a:pt x="1502" y="280"/>
                    </a:lnTo>
                    <a:lnTo>
                      <a:pt x="1494" y="266"/>
                    </a:lnTo>
                    <a:lnTo>
                      <a:pt x="1482" y="256"/>
                    </a:lnTo>
                    <a:lnTo>
                      <a:pt x="1486" y="254"/>
                    </a:lnTo>
                    <a:lnTo>
                      <a:pt x="1482" y="250"/>
                    </a:lnTo>
                    <a:lnTo>
                      <a:pt x="1475" y="249"/>
                    </a:lnTo>
                    <a:lnTo>
                      <a:pt x="1468" y="246"/>
                    </a:lnTo>
                    <a:lnTo>
                      <a:pt x="1461" y="246"/>
                    </a:lnTo>
                    <a:lnTo>
                      <a:pt x="1463" y="237"/>
                    </a:lnTo>
                    <a:lnTo>
                      <a:pt x="1448" y="234"/>
                    </a:lnTo>
                    <a:lnTo>
                      <a:pt x="1430" y="231"/>
                    </a:lnTo>
                    <a:lnTo>
                      <a:pt x="1411" y="230"/>
                    </a:lnTo>
                    <a:lnTo>
                      <a:pt x="1391" y="233"/>
                    </a:lnTo>
                    <a:lnTo>
                      <a:pt x="1384" y="230"/>
                    </a:lnTo>
                    <a:lnTo>
                      <a:pt x="1372" y="231"/>
                    </a:lnTo>
                    <a:lnTo>
                      <a:pt x="1359" y="234"/>
                    </a:lnTo>
                    <a:lnTo>
                      <a:pt x="1343" y="238"/>
                    </a:lnTo>
                    <a:lnTo>
                      <a:pt x="1325" y="243"/>
                    </a:lnTo>
                    <a:lnTo>
                      <a:pt x="1309" y="247"/>
                    </a:lnTo>
                    <a:lnTo>
                      <a:pt x="1293" y="249"/>
                    </a:lnTo>
                    <a:lnTo>
                      <a:pt x="1291" y="250"/>
                    </a:lnTo>
                    <a:lnTo>
                      <a:pt x="1291" y="250"/>
                    </a:lnTo>
                    <a:lnTo>
                      <a:pt x="1291" y="250"/>
                    </a:lnTo>
                    <a:lnTo>
                      <a:pt x="1291" y="249"/>
                    </a:lnTo>
                    <a:lnTo>
                      <a:pt x="1293" y="247"/>
                    </a:lnTo>
                    <a:lnTo>
                      <a:pt x="1295" y="246"/>
                    </a:lnTo>
                    <a:lnTo>
                      <a:pt x="1297" y="245"/>
                    </a:lnTo>
                    <a:lnTo>
                      <a:pt x="1298" y="243"/>
                    </a:lnTo>
                    <a:lnTo>
                      <a:pt x="1298" y="242"/>
                    </a:lnTo>
                    <a:lnTo>
                      <a:pt x="1299" y="241"/>
                    </a:lnTo>
                    <a:lnTo>
                      <a:pt x="1298" y="241"/>
                    </a:lnTo>
                    <a:lnTo>
                      <a:pt x="1297" y="239"/>
                    </a:lnTo>
                    <a:lnTo>
                      <a:pt x="1294" y="239"/>
                    </a:lnTo>
                    <a:lnTo>
                      <a:pt x="1290" y="241"/>
                    </a:lnTo>
                    <a:lnTo>
                      <a:pt x="1283" y="242"/>
                    </a:lnTo>
                    <a:lnTo>
                      <a:pt x="1281" y="249"/>
                    </a:lnTo>
                    <a:lnTo>
                      <a:pt x="1274" y="253"/>
                    </a:lnTo>
                    <a:lnTo>
                      <a:pt x="1266" y="256"/>
                    </a:lnTo>
                    <a:lnTo>
                      <a:pt x="1256" y="258"/>
                    </a:lnTo>
                    <a:lnTo>
                      <a:pt x="1248" y="261"/>
                    </a:lnTo>
                    <a:lnTo>
                      <a:pt x="1241" y="266"/>
                    </a:lnTo>
                    <a:lnTo>
                      <a:pt x="1240" y="273"/>
                    </a:lnTo>
                    <a:lnTo>
                      <a:pt x="1208" y="273"/>
                    </a:lnTo>
                    <a:lnTo>
                      <a:pt x="1205" y="285"/>
                    </a:lnTo>
                    <a:lnTo>
                      <a:pt x="1193" y="282"/>
                    </a:lnTo>
                    <a:lnTo>
                      <a:pt x="1182" y="285"/>
                    </a:lnTo>
                    <a:lnTo>
                      <a:pt x="1174" y="289"/>
                    </a:lnTo>
                    <a:lnTo>
                      <a:pt x="1164" y="295"/>
                    </a:lnTo>
                    <a:lnTo>
                      <a:pt x="1155" y="301"/>
                    </a:lnTo>
                    <a:lnTo>
                      <a:pt x="1143" y="308"/>
                    </a:lnTo>
                    <a:lnTo>
                      <a:pt x="1128" y="312"/>
                    </a:lnTo>
                    <a:lnTo>
                      <a:pt x="1129" y="309"/>
                    </a:lnTo>
                    <a:lnTo>
                      <a:pt x="1131" y="308"/>
                    </a:lnTo>
                    <a:lnTo>
                      <a:pt x="1131" y="307"/>
                    </a:lnTo>
                    <a:lnTo>
                      <a:pt x="1131" y="305"/>
                    </a:lnTo>
                    <a:lnTo>
                      <a:pt x="1128" y="307"/>
                    </a:lnTo>
                    <a:lnTo>
                      <a:pt x="1124" y="308"/>
                    </a:lnTo>
                    <a:lnTo>
                      <a:pt x="1121" y="311"/>
                    </a:lnTo>
                    <a:lnTo>
                      <a:pt x="1117" y="312"/>
                    </a:lnTo>
                    <a:lnTo>
                      <a:pt x="1113" y="313"/>
                    </a:lnTo>
                    <a:lnTo>
                      <a:pt x="1110" y="315"/>
                    </a:lnTo>
                    <a:lnTo>
                      <a:pt x="1108" y="316"/>
                    </a:lnTo>
                    <a:lnTo>
                      <a:pt x="1106" y="317"/>
                    </a:lnTo>
                    <a:lnTo>
                      <a:pt x="1105" y="319"/>
                    </a:lnTo>
                    <a:lnTo>
                      <a:pt x="1105" y="320"/>
                    </a:lnTo>
                    <a:lnTo>
                      <a:pt x="1106" y="320"/>
                    </a:lnTo>
                    <a:lnTo>
                      <a:pt x="1110" y="320"/>
                    </a:lnTo>
                    <a:lnTo>
                      <a:pt x="1115" y="320"/>
                    </a:lnTo>
                    <a:lnTo>
                      <a:pt x="1106" y="323"/>
                    </a:lnTo>
                    <a:lnTo>
                      <a:pt x="1096" y="327"/>
                    </a:lnTo>
                    <a:lnTo>
                      <a:pt x="1084" y="331"/>
                    </a:lnTo>
                    <a:lnTo>
                      <a:pt x="1071" y="335"/>
                    </a:lnTo>
                    <a:lnTo>
                      <a:pt x="1061" y="339"/>
                    </a:lnTo>
                    <a:lnTo>
                      <a:pt x="1052" y="342"/>
                    </a:lnTo>
                    <a:lnTo>
                      <a:pt x="1048" y="342"/>
                    </a:lnTo>
                    <a:lnTo>
                      <a:pt x="1048" y="339"/>
                    </a:lnTo>
                    <a:lnTo>
                      <a:pt x="1054" y="334"/>
                    </a:lnTo>
                    <a:lnTo>
                      <a:pt x="1055" y="335"/>
                    </a:lnTo>
                    <a:lnTo>
                      <a:pt x="1061" y="335"/>
                    </a:lnTo>
                    <a:lnTo>
                      <a:pt x="1069" y="331"/>
                    </a:lnTo>
                    <a:lnTo>
                      <a:pt x="1077" y="327"/>
                    </a:lnTo>
                    <a:lnTo>
                      <a:pt x="1085" y="323"/>
                    </a:lnTo>
                    <a:lnTo>
                      <a:pt x="1092" y="320"/>
                    </a:lnTo>
                    <a:lnTo>
                      <a:pt x="1088" y="317"/>
                    </a:lnTo>
                    <a:lnTo>
                      <a:pt x="1081" y="317"/>
                    </a:lnTo>
                    <a:lnTo>
                      <a:pt x="1073" y="319"/>
                    </a:lnTo>
                    <a:lnTo>
                      <a:pt x="1063" y="320"/>
                    </a:lnTo>
                    <a:lnTo>
                      <a:pt x="1054" y="320"/>
                    </a:lnTo>
                    <a:lnTo>
                      <a:pt x="1047" y="319"/>
                    </a:lnTo>
                    <a:lnTo>
                      <a:pt x="1047" y="320"/>
                    </a:lnTo>
                    <a:lnTo>
                      <a:pt x="1044" y="321"/>
                    </a:lnTo>
                    <a:lnTo>
                      <a:pt x="1043" y="323"/>
                    </a:lnTo>
                    <a:lnTo>
                      <a:pt x="1040" y="325"/>
                    </a:lnTo>
                    <a:lnTo>
                      <a:pt x="1035" y="321"/>
                    </a:lnTo>
                    <a:lnTo>
                      <a:pt x="1013" y="334"/>
                    </a:lnTo>
                    <a:lnTo>
                      <a:pt x="990" y="344"/>
                    </a:lnTo>
                    <a:lnTo>
                      <a:pt x="970" y="352"/>
                    </a:lnTo>
                    <a:lnTo>
                      <a:pt x="950" y="363"/>
                    </a:lnTo>
                    <a:lnTo>
                      <a:pt x="935" y="375"/>
                    </a:lnTo>
                    <a:lnTo>
                      <a:pt x="931" y="374"/>
                    </a:lnTo>
                    <a:lnTo>
                      <a:pt x="923" y="375"/>
                    </a:lnTo>
                    <a:lnTo>
                      <a:pt x="911" y="379"/>
                    </a:lnTo>
                    <a:lnTo>
                      <a:pt x="915" y="390"/>
                    </a:lnTo>
                    <a:lnTo>
                      <a:pt x="874" y="405"/>
                    </a:lnTo>
                    <a:lnTo>
                      <a:pt x="888" y="382"/>
                    </a:lnTo>
                    <a:lnTo>
                      <a:pt x="862" y="393"/>
                    </a:lnTo>
                    <a:lnTo>
                      <a:pt x="841" y="405"/>
                    </a:lnTo>
                    <a:lnTo>
                      <a:pt x="820" y="418"/>
                    </a:lnTo>
                    <a:lnTo>
                      <a:pt x="801" y="432"/>
                    </a:lnTo>
                    <a:lnTo>
                      <a:pt x="781" y="442"/>
                    </a:lnTo>
                    <a:lnTo>
                      <a:pt x="773" y="441"/>
                    </a:lnTo>
                    <a:lnTo>
                      <a:pt x="762" y="442"/>
                    </a:lnTo>
                    <a:lnTo>
                      <a:pt x="750" y="448"/>
                    </a:lnTo>
                    <a:lnTo>
                      <a:pt x="735" y="455"/>
                    </a:lnTo>
                    <a:lnTo>
                      <a:pt x="719" y="463"/>
                    </a:lnTo>
                    <a:lnTo>
                      <a:pt x="704" y="469"/>
                    </a:lnTo>
                    <a:lnTo>
                      <a:pt x="688" y="473"/>
                    </a:lnTo>
                    <a:lnTo>
                      <a:pt x="673" y="475"/>
                    </a:lnTo>
                    <a:lnTo>
                      <a:pt x="700" y="459"/>
                    </a:lnTo>
                    <a:lnTo>
                      <a:pt x="677" y="468"/>
                    </a:lnTo>
                    <a:lnTo>
                      <a:pt x="658" y="475"/>
                    </a:lnTo>
                    <a:lnTo>
                      <a:pt x="641" y="480"/>
                    </a:lnTo>
                    <a:lnTo>
                      <a:pt x="626" y="485"/>
                    </a:lnTo>
                    <a:lnTo>
                      <a:pt x="610" y="489"/>
                    </a:lnTo>
                    <a:lnTo>
                      <a:pt x="592" y="498"/>
                    </a:lnTo>
                    <a:lnTo>
                      <a:pt x="571" y="507"/>
                    </a:lnTo>
                    <a:lnTo>
                      <a:pt x="590" y="502"/>
                    </a:lnTo>
                    <a:lnTo>
                      <a:pt x="604" y="498"/>
                    </a:lnTo>
                    <a:lnTo>
                      <a:pt x="618" y="495"/>
                    </a:lnTo>
                    <a:lnTo>
                      <a:pt x="631" y="491"/>
                    </a:lnTo>
                    <a:lnTo>
                      <a:pt x="648" y="487"/>
                    </a:lnTo>
                    <a:lnTo>
                      <a:pt x="669" y="483"/>
                    </a:lnTo>
                    <a:lnTo>
                      <a:pt x="698" y="477"/>
                    </a:lnTo>
                    <a:lnTo>
                      <a:pt x="662" y="489"/>
                    </a:lnTo>
                    <a:lnTo>
                      <a:pt x="630" y="503"/>
                    </a:lnTo>
                    <a:lnTo>
                      <a:pt x="600" y="516"/>
                    </a:lnTo>
                    <a:lnTo>
                      <a:pt x="571" y="530"/>
                    </a:lnTo>
                    <a:lnTo>
                      <a:pt x="540" y="541"/>
                    </a:lnTo>
                    <a:lnTo>
                      <a:pt x="507" y="550"/>
                    </a:lnTo>
                    <a:lnTo>
                      <a:pt x="507" y="547"/>
                    </a:lnTo>
                    <a:lnTo>
                      <a:pt x="510" y="546"/>
                    </a:lnTo>
                    <a:lnTo>
                      <a:pt x="511" y="543"/>
                    </a:lnTo>
                    <a:lnTo>
                      <a:pt x="514" y="542"/>
                    </a:lnTo>
                    <a:lnTo>
                      <a:pt x="515" y="541"/>
                    </a:lnTo>
                    <a:lnTo>
                      <a:pt x="515" y="539"/>
                    </a:lnTo>
                    <a:lnTo>
                      <a:pt x="515" y="538"/>
                    </a:lnTo>
                    <a:lnTo>
                      <a:pt x="515" y="537"/>
                    </a:lnTo>
                    <a:lnTo>
                      <a:pt x="513" y="537"/>
                    </a:lnTo>
                    <a:lnTo>
                      <a:pt x="507" y="537"/>
                    </a:lnTo>
                    <a:lnTo>
                      <a:pt x="501" y="542"/>
                    </a:lnTo>
                    <a:lnTo>
                      <a:pt x="491" y="547"/>
                    </a:lnTo>
                    <a:lnTo>
                      <a:pt x="480" y="551"/>
                    </a:lnTo>
                    <a:lnTo>
                      <a:pt x="469" y="555"/>
                    </a:lnTo>
                    <a:lnTo>
                      <a:pt x="460" y="559"/>
                    </a:lnTo>
                    <a:lnTo>
                      <a:pt x="456" y="562"/>
                    </a:lnTo>
                    <a:lnTo>
                      <a:pt x="459" y="566"/>
                    </a:lnTo>
                    <a:lnTo>
                      <a:pt x="444" y="566"/>
                    </a:lnTo>
                    <a:lnTo>
                      <a:pt x="433" y="565"/>
                    </a:lnTo>
                    <a:lnTo>
                      <a:pt x="425" y="563"/>
                    </a:lnTo>
                    <a:lnTo>
                      <a:pt x="415" y="563"/>
                    </a:lnTo>
                    <a:lnTo>
                      <a:pt x="348" y="594"/>
                    </a:lnTo>
                    <a:lnTo>
                      <a:pt x="349" y="596"/>
                    </a:lnTo>
                    <a:lnTo>
                      <a:pt x="312" y="604"/>
                    </a:lnTo>
                    <a:lnTo>
                      <a:pt x="277" y="612"/>
                    </a:lnTo>
                    <a:lnTo>
                      <a:pt x="241" y="620"/>
                    </a:lnTo>
                    <a:lnTo>
                      <a:pt x="205" y="627"/>
                    </a:lnTo>
                    <a:lnTo>
                      <a:pt x="163" y="631"/>
                    </a:lnTo>
                    <a:lnTo>
                      <a:pt x="147" y="633"/>
                    </a:lnTo>
                    <a:lnTo>
                      <a:pt x="135" y="633"/>
                    </a:lnTo>
                    <a:lnTo>
                      <a:pt x="123" y="633"/>
                    </a:lnTo>
                    <a:lnTo>
                      <a:pt x="109" y="633"/>
                    </a:lnTo>
                    <a:lnTo>
                      <a:pt x="90" y="632"/>
                    </a:lnTo>
                    <a:lnTo>
                      <a:pt x="82" y="632"/>
                    </a:lnTo>
                    <a:lnTo>
                      <a:pt x="96" y="632"/>
                    </a:lnTo>
                    <a:lnTo>
                      <a:pt x="93" y="631"/>
                    </a:lnTo>
                    <a:lnTo>
                      <a:pt x="82" y="632"/>
                    </a:lnTo>
                    <a:lnTo>
                      <a:pt x="78" y="632"/>
                    </a:lnTo>
                    <a:lnTo>
                      <a:pt x="77" y="631"/>
                    </a:lnTo>
                    <a:lnTo>
                      <a:pt x="71" y="629"/>
                    </a:lnTo>
                    <a:lnTo>
                      <a:pt x="61" y="629"/>
                    </a:lnTo>
                    <a:lnTo>
                      <a:pt x="59" y="628"/>
                    </a:lnTo>
                    <a:lnTo>
                      <a:pt x="43" y="624"/>
                    </a:lnTo>
                    <a:lnTo>
                      <a:pt x="28" y="616"/>
                    </a:lnTo>
                    <a:lnTo>
                      <a:pt x="16" y="605"/>
                    </a:lnTo>
                    <a:lnTo>
                      <a:pt x="7" y="593"/>
                    </a:lnTo>
                    <a:lnTo>
                      <a:pt x="1" y="577"/>
                    </a:lnTo>
                    <a:lnTo>
                      <a:pt x="0" y="557"/>
                    </a:lnTo>
                    <a:lnTo>
                      <a:pt x="4" y="534"/>
                    </a:lnTo>
                    <a:lnTo>
                      <a:pt x="8" y="526"/>
                    </a:lnTo>
                    <a:lnTo>
                      <a:pt x="13" y="515"/>
                    </a:lnTo>
                    <a:lnTo>
                      <a:pt x="20" y="503"/>
                    </a:lnTo>
                    <a:lnTo>
                      <a:pt x="27" y="494"/>
                    </a:lnTo>
                    <a:lnTo>
                      <a:pt x="31" y="485"/>
                    </a:lnTo>
                    <a:lnTo>
                      <a:pt x="34" y="483"/>
                    </a:lnTo>
                    <a:lnTo>
                      <a:pt x="42" y="469"/>
                    </a:lnTo>
                    <a:lnTo>
                      <a:pt x="48" y="456"/>
                    </a:lnTo>
                    <a:lnTo>
                      <a:pt x="58" y="442"/>
                    </a:lnTo>
                    <a:lnTo>
                      <a:pt x="61" y="448"/>
                    </a:lnTo>
                    <a:lnTo>
                      <a:pt x="73" y="424"/>
                    </a:lnTo>
                    <a:lnTo>
                      <a:pt x="73" y="425"/>
                    </a:lnTo>
                    <a:lnTo>
                      <a:pt x="73" y="425"/>
                    </a:lnTo>
                    <a:lnTo>
                      <a:pt x="74" y="426"/>
                    </a:lnTo>
                    <a:lnTo>
                      <a:pt x="75" y="425"/>
                    </a:lnTo>
                    <a:lnTo>
                      <a:pt x="77" y="424"/>
                    </a:lnTo>
                    <a:lnTo>
                      <a:pt x="79" y="422"/>
                    </a:lnTo>
                    <a:lnTo>
                      <a:pt x="82" y="421"/>
                    </a:lnTo>
                    <a:lnTo>
                      <a:pt x="85" y="420"/>
                    </a:lnTo>
                    <a:lnTo>
                      <a:pt x="88" y="418"/>
                    </a:lnTo>
                    <a:lnTo>
                      <a:pt x="89" y="416"/>
                    </a:lnTo>
                    <a:lnTo>
                      <a:pt x="92" y="416"/>
                    </a:lnTo>
                    <a:lnTo>
                      <a:pt x="93" y="414"/>
                    </a:lnTo>
                    <a:lnTo>
                      <a:pt x="94" y="414"/>
                    </a:lnTo>
                    <a:lnTo>
                      <a:pt x="120" y="379"/>
                    </a:lnTo>
                    <a:lnTo>
                      <a:pt x="146" y="344"/>
                    </a:lnTo>
                    <a:lnTo>
                      <a:pt x="150" y="348"/>
                    </a:lnTo>
                    <a:lnTo>
                      <a:pt x="150" y="355"/>
                    </a:lnTo>
                    <a:lnTo>
                      <a:pt x="147" y="363"/>
                    </a:lnTo>
                    <a:lnTo>
                      <a:pt x="139" y="373"/>
                    </a:lnTo>
                    <a:lnTo>
                      <a:pt x="156" y="356"/>
                    </a:lnTo>
                    <a:lnTo>
                      <a:pt x="173" y="339"/>
                    </a:lnTo>
                    <a:lnTo>
                      <a:pt x="187" y="320"/>
                    </a:lnTo>
                    <a:lnTo>
                      <a:pt x="202" y="304"/>
                    </a:lnTo>
                    <a:lnTo>
                      <a:pt x="198" y="315"/>
                    </a:lnTo>
                    <a:lnTo>
                      <a:pt x="217" y="293"/>
                    </a:lnTo>
                    <a:lnTo>
                      <a:pt x="221" y="299"/>
                    </a:lnTo>
                    <a:lnTo>
                      <a:pt x="239" y="282"/>
                    </a:lnTo>
                    <a:lnTo>
                      <a:pt x="256" y="268"/>
                    </a:lnTo>
                    <a:lnTo>
                      <a:pt x="275" y="253"/>
                    </a:lnTo>
                    <a:lnTo>
                      <a:pt x="290" y="241"/>
                    </a:lnTo>
                    <a:lnTo>
                      <a:pt x="302" y="229"/>
                    </a:lnTo>
                    <a:lnTo>
                      <a:pt x="309" y="218"/>
                    </a:lnTo>
                    <a:lnTo>
                      <a:pt x="312" y="231"/>
                    </a:lnTo>
                    <a:lnTo>
                      <a:pt x="344" y="194"/>
                    </a:lnTo>
                    <a:lnTo>
                      <a:pt x="326" y="217"/>
                    </a:lnTo>
                    <a:lnTo>
                      <a:pt x="344" y="204"/>
                    </a:lnTo>
                    <a:lnTo>
                      <a:pt x="363" y="191"/>
                    </a:lnTo>
                    <a:lnTo>
                      <a:pt x="380" y="176"/>
                    </a:lnTo>
                    <a:lnTo>
                      <a:pt x="399" y="163"/>
                    </a:lnTo>
                    <a:lnTo>
                      <a:pt x="414" y="149"/>
                    </a:lnTo>
                    <a:lnTo>
                      <a:pt x="428" y="139"/>
                    </a:lnTo>
                    <a:lnTo>
                      <a:pt x="438" y="130"/>
                    </a:lnTo>
                    <a:lnTo>
                      <a:pt x="445" y="126"/>
                    </a:lnTo>
                    <a:lnTo>
                      <a:pt x="442" y="133"/>
                    </a:lnTo>
                    <a:lnTo>
                      <a:pt x="448" y="130"/>
                    </a:lnTo>
                    <a:lnTo>
                      <a:pt x="452" y="128"/>
                    </a:lnTo>
                    <a:lnTo>
                      <a:pt x="456" y="125"/>
                    </a:lnTo>
                    <a:lnTo>
                      <a:pt x="459" y="121"/>
                    </a:lnTo>
                    <a:lnTo>
                      <a:pt x="463" y="117"/>
                    </a:lnTo>
                    <a:lnTo>
                      <a:pt x="460" y="128"/>
                    </a:lnTo>
                    <a:lnTo>
                      <a:pt x="484" y="113"/>
                    </a:lnTo>
                    <a:lnTo>
                      <a:pt x="506" y="101"/>
                    </a:lnTo>
                    <a:lnTo>
                      <a:pt x="525" y="91"/>
                    </a:lnTo>
                    <a:lnTo>
                      <a:pt x="544" y="83"/>
                    </a:lnTo>
                    <a:lnTo>
                      <a:pt x="563" y="74"/>
                    </a:lnTo>
                    <a:lnTo>
                      <a:pt x="583" y="65"/>
                    </a:lnTo>
                    <a:lnTo>
                      <a:pt x="607" y="53"/>
                    </a:lnTo>
                    <a:lnTo>
                      <a:pt x="634" y="38"/>
                    </a:lnTo>
                    <a:lnTo>
                      <a:pt x="638" y="36"/>
                    </a:lnTo>
                    <a:lnTo>
                      <a:pt x="641" y="35"/>
                    </a:lnTo>
                    <a:lnTo>
                      <a:pt x="642" y="35"/>
                    </a:lnTo>
                    <a:lnTo>
                      <a:pt x="642" y="35"/>
                    </a:lnTo>
                    <a:lnTo>
                      <a:pt x="641" y="36"/>
                    </a:lnTo>
                    <a:lnTo>
                      <a:pt x="640" y="36"/>
                    </a:lnTo>
                    <a:lnTo>
                      <a:pt x="638" y="38"/>
                    </a:lnTo>
                    <a:lnTo>
                      <a:pt x="635" y="40"/>
                    </a:lnTo>
                    <a:lnTo>
                      <a:pt x="633" y="42"/>
                    </a:lnTo>
                    <a:lnTo>
                      <a:pt x="630" y="43"/>
                    </a:lnTo>
                    <a:lnTo>
                      <a:pt x="627" y="46"/>
                    </a:lnTo>
                    <a:lnTo>
                      <a:pt x="626" y="47"/>
                    </a:lnTo>
                    <a:lnTo>
                      <a:pt x="625" y="48"/>
                    </a:lnTo>
                    <a:lnTo>
                      <a:pt x="625" y="50"/>
                    </a:lnTo>
                    <a:lnTo>
                      <a:pt x="634" y="47"/>
                    </a:lnTo>
                    <a:lnTo>
                      <a:pt x="645" y="42"/>
                    </a:lnTo>
                    <a:lnTo>
                      <a:pt x="656" y="35"/>
                    </a:lnTo>
                    <a:lnTo>
                      <a:pt x="665" y="30"/>
                    </a:lnTo>
                    <a:lnTo>
                      <a:pt x="672" y="24"/>
                    </a:lnTo>
                    <a:lnTo>
                      <a:pt x="671" y="27"/>
                    </a:lnTo>
                    <a:lnTo>
                      <a:pt x="668" y="30"/>
                    </a:lnTo>
                    <a:lnTo>
                      <a:pt x="665" y="32"/>
                    </a:lnTo>
                    <a:lnTo>
                      <a:pt x="662" y="35"/>
                    </a:lnTo>
                    <a:lnTo>
                      <a:pt x="660" y="38"/>
                    </a:lnTo>
                    <a:lnTo>
                      <a:pt x="657" y="39"/>
                    </a:lnTo>
                    <a:lnTo>
                      <a:pt x="654" y="42"/>
                    </a:lnTo>
                    <a:lnTo>
                      <a:pt x="652" y="43"/>
                    </a:lnTo>
                    <a:lnTo>
                      <a:pt x="650" y="44"/>
                    </a:lnTo>
                    <a:lnTo>
                      <a:pt x="650" y="46"/>
                    </a:lnTo>
                    <a:lnTo>
                      <a:pt x="650" y="46"/>
                    </a:lnTo>
                    <a:lnTo>
                      <a:pt x="653" y="46"/>
                    </a:lnTo>
                    <a:lnTo>
                      <a:pt x="656" y="46"/>
                    </a:lnTo>
                    <a:lnTo>
                      <a:pt x="661" y="46"/>
                    </a:lnTo>
                    <a:lnTo>
                      <a:pt x="667" y="43"/>
                    </a:lnTo>
                    <a:lnTo>
                      <a:pt x="668" y="43"/>
                    </a:lnTo>
                    <a:lnTo>
                      <a:pt x="668" y="44"/>
                    </a:lnTo>
                    <a:lnTo>
                      <a:pt x="668" y="46"/>
                    </a:lnTo>
                    <a:lnTo>
                      <a:pt x="668" y="48"/>
                    </a:lnTo>
                    <a:lnTo>
                      <a:pt x="671" y="50"/>
                    </a:lnTo>
                    <a:lnTo>
                      <a:pt x="676" y="48"/>
                    </a:lnTo>
                    <a:lnTo>
                      <a:pt x="685" y="44"/>
                    </a:lnTo>
                    <a:lnTo>
                      <a:pt x="693" y="27"/>
                    </a:lnTo>
                    <a:lnTo>
                      <a:pt x="700" y="26"/>
                    </a:lnTo>
                    <a:lnTo>
                      <a:pt x="704" y="26"/>
                    </a:lnTo>
                    <a:lnTo>
                      <a:pt x="707" y="27"/>
                    </a:lnTo>
                    <a:lnTo>
                      <a:pt x="710" y="28"/>
                    </a:lnTo>
                    <a:lnTo>
                      <a:pt x="714" y="28"/>
                    </a:lnTo>
                    <a:lnTo>
                      <a:pt x="720" y="26"/>
                    </a:lnTo>
                    <a:lnTo>
                      <a:pt x="731" y="23"/>
                    </a:lnTo>
                    <a:lnTo>
                      <a:pt x="735" y="20"/>
                    </a:lnTo>
                    <a:lnTo>
                      <a:pt x="738" y="19"/>
                    </a:lnTo>
                    <a:lnTo>
                      <a:pt x="739" y="18"/>
                    </a:lnTo>
                    <a:lnTo>
                      <a:pt x="739" y="16"/>
                    </a:lnTo>
                    <a:lnTo>
                      <a:pt x="739" y="15"/>
                    </a:lnTo>
                    <a:lnTo>
                      <a:pt x="737" y="15"/>
                    </a:lnTo>
                    <a:lnTo>
                      <a:pt x="735" y="14"/>
                    </a:lnTo>
                    <a:lnTo>
                      <a:pt x="733" y="14"/>
                    </a:lnTo>
                    <a:lnTo>
                      <a:pt x="730" y="14"/>
                    </a:lnTo>
                    <a:lnTo>
                      <a:pt x="727" y="14"/>
                    </a:lnTo>
                    <a:lnTo>
                      <a:pt x="725" y="14"/>
                    </a:lnTo>
                    <a:lnTo>
                      <a:pt x="722" y="12"/>
                    </a:lnTo>
                    <a:lnTo>
                      <a:pt x="720" y="12"/>
                    </a:lnTo>
                    <a:lnTo>
                      <a:pt x="719" y="12"/>
                    </a:lnTo>
                    <a:lnTo>
                      <a:pt x="719" y="11"/>
                    </a:lnTo>
                    <a:lnTo>
                      <a:pt x="720" y="9"/>
                    </a:lnTo>
                    <a:lnTo>
                      <a:pt x="723" y="8"/>
                    </a:lnTo>
                    <a:lnTo>
                      <a:pt x="727" y="7"/>
                    </a:lnTo>
                    <a:lnTo>
                      <a:pt x="733" y="4"/>
                    </a:lnTo>
                    <a:lnTo>
                      <a:pt x="741" y="1"/>
                    </a:lnTo>
                    <a:lnTo>
                      <a:pt x="7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22" name="Freeform 9"/>
              <p:cNvSpPr>
                <a:spLocks/>
              </p:cNvSpPr>
              <p:nvPr/>
            </p:nvSpPr>
            <p:spPr bwMode="auto">
              <a:xfrm>
                <a:off x="7835900" y="3103563"/>
                <a:ext cx="12700" cy="7938"/>
              </a:xfrm>
              <a:custGeom>
                <a:avLst/>
                <a:gdLst>
                  <a:gd name="T0" fmla="*/ 15 w 15"/>
                  <a:gd name="T1" fmla="*/ 0 h 9"/>
                  <a:gd name="T2" fmla="*/ 11 w 15"/>
                  <a:gd name="T3" fmla="*/ 3 h 9"/>
                  <a:gd name="T4" fmla="*/ 5 w 15"/>
                  <a:gd name="T5" fmla="*/ 5 h 9"/>
                  <a:gd name="T6" fmla="*/ 0 w 15"/>
                  <a:gd name="T7" fmla="*/ 9 h 9"/>
                  <a:gd name="T8" fmla="*/ 15 w 15"/>
                  <a:gd name="T9" fmla="*/ 0 h 9"/>
                </a:gdLst>
                <a:ahLst/>
                <a:cxnLst>
                  <a:cxn ang="0">
                    <a:pos x="T0" y="T1"/>
                  </a:cxn>
                  <a:cxn ang="0">
                    <a:pos x="T2" y="T3"/>
                  </a:cxn>
                  <a:cxn ang="0">
                    <a:pos x="T4" y="T5"/>
                  </a:cxn>
                  <a:cxn ang="0">
                    <a:pos x="T6" y="T7"/>
                  </a:cxn>
                  <a:cxn ang="0">
                    <a:pos x="T8" y="T9"/>
                  </a:cxn>
                </a:cxnLst>
                <a:rect l="0" t="0" r="r" b="b"/>
                <a:pathLst>
                  <a:path w="15" h="9">
                    <a:moveTo>
                      <a:pt x="15" y="0"/>
                    </a:moveTo>
                    <a:lnTo>
                      <a:pt x="11" y="3"/>
                    </a:lnTo>
                    <a:lnTo>
                      <a:pt x="5" y="5"/>
                    </a:lnTo>
                    <a:lnTo>
                      <a:pt x="0" y="9"/>
                    </a:lnTo>
                    <a:lnTo>
                      <a:pt x="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23" name="Freeform 10"/>
              <p:cNvSpPr>
                <a:spLocks/>
              </p:cNvSpPr>
              <p:nvPr/>
            </p:nvSpPr>
            <p:spPr bwMode="auto">
              <a:xfrm>
                <a:off x="8258175" y="3119438"/>
                <a:ext cx="6350" cy="1588"/>
              </a:xfrm>
              <a:custGeom>
                <a:avLst/>
                <a:gdLst>
                  <a:gd name="T0" fmla="*/ 4 w 8"/>
                  <a:gd name="T1" fmla="*/ 0 h 3"/>
                  <a:gd name="T2" fmla="*/ 6 w 8"/>
                  <a:gd name="T3" fmla="*/ 1 h 3"/>
                  <a:gd name="T4" fmla="*/ 8 w 8"/>
                  <a:gd name="T5" fmla="*/ 1 h 3"/>
                  <a:gd name="T6" fmla="*/ 4 w 8"/>
                  <a:gd name="T7" fmla="*/ 3 h 3"/>
                  <a:gd name="T8" fmla="*/ 1 w 8"/>
                  <a:gd name="T9" fmla="*/ 1 h 3"/>
                  <a:gd name="T10" fmla="*/ 0 w 8"/>
                  <a:gd name="T11" fmla="*/ 0 h 3"/>
                  <a:gd name="T12" fmla="*/ 4 w 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4" y="0"/>
                    </a:moveTo>
                    <a:lnTo>
                      <a:pt x="6" y="1"/>
                    </a:lnTo>
                    <a:lnTo>
                      <a:pt x="8" y="1"/>
                    </a:lnTo>
                    <a:lnTo>
                      <a:pt x="4" y="3"/>
                    </a:lnTo>
                    <a:lnTo>
                      <a:pt x="1" y="1"/>
                    </a:lnTo>
                    <a:lnTo>
                      <a:pt x="0" y="0"/>
                    </a:ln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24" name="Freeform 11"/>
              <p:cNvSpPr>
                <a:spLocks/>
              </p:cNvSpPr>
              <p:nvPr/>
            </p:nvSpPr>
            <p:spPr bwMode="auto">
              <a:xfrm>
                <a:off x="8305800" y="3098800"/>
                <a:ext cx="1588" cy="0"/>
              </a:xfrm>
              <a:custGeom>
                <a:avLst/>
                <a:gdLst>
                  <a:gd name="T0" fmla="*/ 3 w 3"/>
                  <a:gd name="T1" fmla="*/ 0 h 2"/>
                  <a:gd name="T2" fmla="*/ 1 w 3"/>
                  <a:gd name="T3" fmla="*/ 2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lnTo>
                      <a:pt x="1" y="2"/>
                    </a:lnTo>
                    <a:lnTo>
                      <a:pt x="0" y="2"/>
                    </a:lnTo>
                    <a:lnTo>
                      <a:pt x="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25" name="Freeform 12"/>
              <p:cNvSpPr>
                <a:spLocks/>
              </p:cNvSpPr>
              <p:nvPr/>
            </p:nvSpPr>
            <p:spPr bwMode="auto">
              <a:xfrm>
                <a:off x="8329613" y="3375025"/>
                <a:ext cx="6350" cy="3175"/>
              </a:xfrm>
              <a:custGeom>
                <a:avLst/>
                <a:gdLst>
                  <a:gd name="T0" fmla="*/ 6 w 8"/>
                  <a:gd name="T1" fmla="*/ 0 h 4"/>
                  <a:gd name="T2" fmla="*/ 8 w 8"/>
                  <a:gd name="T3" fmla="*/ 0 h 4"/>
                  <a:gd name="T4" fmla="*/ 0 w 8"/>
                  <a:gd name="T5" fmla="*/ 4 h 4"/>
                  <a:gd name="T6" fmla="*/ 6 w 8"/>
                  <a:gd name="T7" fmla="*/ 0 h 4"/>
                </a:gdLst>
                <a:ahLst/>
                <a:cxnLst>
                  <a:cxn ang="0">
                    <a:pos x="T0" y="T1"/>
                  </a:cxn>
                  <a:cxn ang="0">
                    <a:pos x="T2" y="T3"/>
                  </a:cxn>
                  <a:cxn ang="0">
                    <a:pos x="T4" y="T5"/>
                  </a:cxn>
                  <a:cxn ang="0">
                    <a:pos x="T6" y="T7"/>
                  </a:cxn>
                </a:cxnLst>
                <a:rect l="0" t="0" r="r" b="b"/>
                <a:pathLst>
                  <a:path w="8" h="4">
                    <a:moveTo>
                      <a:pt x="6" y="0"/>
                    </a:moveTo>
                    <a:lnTo>
                      <a:pt x="8" y="0"/>
                    </a:lnTo>
                    <a:lnTo>
                      <a:pt x="0" y="4"/>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grpSp>
        <p:sp>
          <p:nvSpPr>
            <p:cNvPr id="9" name="Freeform 13"/>
            <p:cNvSpPr>
              <a:spLocks/>
            </p:cNvSpPr>
            <p:nvPr/>
          </p:nvSpPr>
          <p:spPr bwMode="auto">
            <a:xfrm>
              <a:off x="8178881" y="300565"/>
              <a:ext cx="59071" cy="96565"/>
            </a:xfrm>
            <a:custGeom>
              <a:avLst/>
              <a:gdLst>
                <a:gd name="T0" fmla="*/ 223 w 335"/>
                <a:gd name="T1" fmla="*/ 1 h 546"/>
                <a:gd name="T2" fmla="*/ 279 w 335"/>
                <a:gd name="T3" fmla="*/ 15 h 546"/>
                <a:gd name="T4" fmla="*/ 335 w 335"/>
                <a:gd name="T5" fmla="*/ 45 h 546"/>
                <a:gd name="T6" fmla="*/ 258 w 335"/>
                <a:gd name="T7" fmla="*/ 138 h 546"/>
                <a:gd name="T8" fmla="*/ 231 w 335"/>
                <a:gd name="T9" fmla="*/ 122 h 546"/>
                <a:gd name="T10" fmla="*/ 204 w 335"/>
                <a:gd name="T11" fmla="*/ 118 h 546"/>
                <a:gd name="T12" fmla="*/ 174 w 335"/>
                <a:gd name="T13" fmla="*/ 127 h 546"/>
                <a:gd name="T14" fmla="*/ 163 w 335"/>
                <a:gd name="T15" fmla="*/ 156 h 546"/>
                <a:gd name="T16" fmla="*/ 167 w 335"/>
                <a:gd name="T17" fmla="*/ 173 h 546"/>
                <a:gd name="T18" fmla="*/ 185 w 335"/>
                <a:gd name="T19" fmla="*/ 189 h 546"/>
                <a:gd name="T20" fmla="*/ 223 w 335"/>
                <a:gd name="T21" fmla="*/ 208 h 546"/>
                <a:gd name="T22" fmla="*/ 287 w 335"/>
                <a:gd name="T23" fmla="*/ 251 h 546"/>
                <a:gd name="T24" fmla="*/ 323 w 335"/>
                <a:gd name="T25" fmla="*/ 301 h 546"/>
                <a:gd name="T26" fmla="*/ 333 w 335"/>
                <a:gd name="T27" fmla="*/ 365 h 546"/>
                <a:gd name="T28" fmla="*/ 321 w 335"/>
                <a:gd name="T29" fmla="*/ 439 h 546"/>
                <a:gd name="T30" fmla="*/ 286 w 335"/>
                <a:gd name="T31" fmla="*/ 496 h 546"/>
                <a:gd name="T32" fmla="*/ 233 w 335"/>
                <a:gd name="T33" fmla="*/ 534 h 546"/>
                <a:gd name="T34" fmla="*/ 165 w 335"/>
                <a:gd name="T35" fmla="*/ 546 h 546"/>
                <a:gd name="T36" fmla="*/ 97 w 335"/>
                <a:gd name="T37" fmla="*/ 538 h 546"/>
                <a:gd name="T38" fmla="*/ 32 w 335"/>
                <a:gd name="T39" fmla="*/ 509 h 546"/>
                <a:gd name="T40" fmla="*/ 66 w 335"/>
                <a:gd name="T41" fmla="*/ 382 h 546"/>
                <a:gd name="T42" fmla="*/ 99 w 335"/>
                <a:gd name="T43" fmla="*/ 406 h 546"/>
                <a:gd name="T44" fmla="*/ 126 w 335"/>
                <a:gd name="T45" fmla="*/ 417 h 546"/>
                <a:gd name="T46" fmla="*/ 159 w 335"/>
                <a:gd name="T47" fmla="*/ 414 h 546"/>
                <a:gd name="T48" fmla="*/ 184 w 335"/>
                <a:gd name="T49" fmla="*/ 391 h 546"/>
                <a:gd name="T50" fmla="*/ 186 w 335"/>
                <a:gd name="T51" fmla="*/ 361 h 546"/>
                <a:gd name="T52" fmla="*/ 173 w 335"/>
                <a:gd name="T53" fmla="*/ 343 h 546"/>
                <a:gd name="T54" fmla="*/ 138 w 335"/>
                <a:gd name="T55" fmla="*/ 321 h 546"/>
                <a:gd name="T56" fmla="*/ 72 w 335"/>
                <a:gd name="T57" fmla="*/ 281 h 546"/>
                <a:gd name="T58" fmla="*/ 32 w 335"/>
                <a:gd name="T59" fmla="*/ 238 h 546"/>
                <a:gd name="T60" fmla="*/ 13 w 335"/>
                <a:gd name="T61" fmla="*/ 187 h 546"/>
                <a:gd name="T62" fmla="*/ 15 w 335"/>
                <a:gd name="T63" fmla="*/ 123 h 546"/>
                <a:gd name="T64" fmla="*/ 40 w 335"/>
                <a:gd name="T65" fmla="*/ 66 h 546"/>
                <a:gd name="T66" fmla="*/ 88 w 335"/>
                <a:gd name="T67" fmla="*/ 24 h 546"/>
                <a:gd name="T68" fmla="*/ 154 w 335"/>
                <a:gd name="T69" fmla="*/ 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5" h="546">
                  <a:moveTo>
                    <a:pt x="192" y="0"/>
                  </a:moveTo>
                  <a:lnTo>
                    <a:pt x="223" y="1"/>
                  </a:lnTo>
                  <a:lnTo>
                    <a:pt x="252" y="5"/>
                  </a:lnTo>
                  <a:lnTo>
                    <a:pt x="279" y="15"/>
                  </a:lnTo>
                  <a:lnTo>
                    <a:pt x="306" y="28"/>
                  </a:lnTo>
                  <a:lnTo>
                    <a:pt x="335" y="45"/>
                  </a:lnTo>
                  <a:lnTo>
                    <a:pt x="275" y="153"/>
                  </a:lnTo>
                  <a:lnTo>
                    <a:pt x="258" y="138"/>
                  </a:lnTo>
                  <a:lnTo>
                    <a:pt x="243" y="129"/>
                  </a:lnTo>
                  <a:lnTo>
                    <a:pt x="231" y="122"/>
                  </a:lnTo>
                  <a:lnTo>
                    <a:pt x="217" y="118"/>
                  </a:lnTo>
                  <a:lnTo>
                    <a:pt x="204" y="118"/>
                  </a:lnTo>
                  <a:lnTo>
                    <a:pt x="188" y="119"/>
                  </a:lnTo>
                  <a:lnTo>
                    <a:pt x="174" y="127"/>
                  </a:lnTo>
                  <a:lnTo>
                    <a:pt x="166" y="140"/>
                  </a:lnTo>
                  <a:lnTo>
                    <a:pt x="163" y="156"/>
                  </a:lnTo>
                  <a:lnTo>
                    <a:pt x="165" y="165"/>
                  </a:lnTo>
                  <a:lnTo>
                    <a:pt x="167" y="173"/>
                  </a:lnTo>
                  <a:lnTo>
                    <a:pt x="174" y="181"/>
                  </a:lnTo>
                  <a:lnTo>
                    <a:pt x="185" y="189"/>
                  </a:lnTo>
                  <a:lnTo>
                    <a:pt x="201" y="197"/>
                  </a:lnTo>
                  <a:lnTo>
                    <a:pt x="223" y="208"/>
                  </a:lnTo>
                  <a:lnTo>
                    <a:pt x="259" y="230"/>
                  </a:lnTo>
                  <a:lnTo>
                    <a:pt x="287" y="251"/>
                  </a:lnTo>
                  <a:lnTo>
                    <a:pt x="309" y="274"/>
                  </a:lnTo>
                  <a:lnTo>
                    <a:pt x="323" y="301"/>
                  </a:lnTo>
                  <a:lnTo>
                    <a:pt x="331" y="331"/>
                  </a:lnTo>
                  <a:lnTo>
                    <a:pt x="333" y="365"/>
                  </a:lnTo>
                  <a:lnTo>
                    <a:pt x="331" y="404"/>
                  </a:lnTo>
                  <a:lnTo>
                    <a:pt x="321" y="439"/>
                  </a:lnTo>
                  <a:lnTo>
                    <a:pt x="306" y="470"/>
                  </a:lnTo>
                  <a:lnTo>
                    <a:pt x="286" y="496"/>
                  </a:lnTo>
                  <a:lnTo>
                    <a:pt x="262" y="517"/>
                  </a:lnTo>
                  <a:lnTo>
                    <a:pt x="233" y="534"/>
                  </a:lnTo>
                  <a:lnTo>
                    <a:pt x="200" y="543"/>
                  </a:lnTo>
                  <a:lnTo>
                    <a:pt x="165" y="546"/>
                  </a:lnTo>
                  <a:lnTo>
                    <a:pt x="130" y="544"/>
                  </a:lnTo>
                  <a:lnTo>
                    <a:pt x="97" y="538"/>
                  </a:lnTo>
                  <a:lnTo>
                    <a:pt x="65" y="527"/>
                  </a:lnTo>
                  <a:lnTo>
                    <a:pt x="32" y="509"/>
                  </a:lnTo>
                  <a:lnTo>
                    <a:pt x="0" y="488"/>
                  </a:lnTo>
                  <a:lnTo>
                    <a:pt x="66" y="382"/>
                  </a:lnTo>
                  <a:lnTo>
                    <a:pt x="84" y="396"/>
                  </a:lnTo>
                  <a:lnTo>
                    <a:pt x="99" y="406"/>
                  </a:lnTo>
                  <a:lnTo>
                    <a:pt x="112" y="413"/>
                  </a:lnTo>
                  <a:lnTo>
                    <a:pt x="126" y="417"/>
                  </a:lnTo>
                  <a:lnTo>
                    <a:pt x="140" y="418"/>
                  </a:lnTo>
                  <a:lnTo>
                    <a:pt x="159" y="414"/>
                  </a:lnTo>
                  <a:lnTo>
                    <a:pt x="174" y="404"/>
                  </a:lnTo>
                  <a:lnTo>
                    <a:pt x="184" y="391"/>
                  </a:lnTo>
                  <a:lnTo>
                    <a:pt x="188" y="372"/>
                  </a:lnTo>
                  <a:lnTo>
                    <a:pt x="186" y="361"/>
                  </a:lnTo>
                  <a:lnTo>
                    <a:pt x="181" y="352"/>
                  </a:lnTo>
                  <a:lnTo>
                    <a:pt x="173" y="343"/>
                  </a:lnTo>
                  <a:lnTo>
                    <a:pt x="158" y="332"/>
                  </a:lnTo>
                  <a:lnTo>
                    <a:pt x="138" y="321"/>
                  </a:lnTo>
                  <a:lnTo>
                    <a:pt x="101" y="301"/>
                  </a:lnTo>
                  <a:lnTo>
                    <a:pt x="72" y="281"/>
                  </a:lnTo>
                  <a:lnTo>
                    <a:pt x="49" y="259"/>
                  </a:lnTo>
                  <a:lnTo>
                    <a:pt x="32" y="238"/>
                  </a:lnTo>
                  <a:lnTo>
                    <a:pt x="20" y="214"/>
                  </a:lnTo>
                  <a:lnTo>
                    <a:pt x="13" y="187"/>
                  </a:lnTo>
                  <a:lnTo>
                    <a:pt x="12" y="157"/>
                  </a:lnTo>
                  <a:lnTo>
                    <a:pt x="15" y="123"/>
                  </a:lnTo>
                  <a:lnTo>
                    <a:pt x="26" y="93"/>
                  </a:lnTo>
                  <a:lnTo>
                    <a:pt x="40" y="66"/>
                  </a:lnTo>
                  <a:lnTo>
                    <a:pt x="62" y="43"/>
                  </a:lnTo>
                  <a:lnTo>
                    <a:pt x="88" y="24"/>
                  </a:lnTo>
                  <a:lnTo>
                    <a:pt x="119" y="11"/>
                  </a:lnTo>
                  <a:lnTo>
                    <a:pt x="154" y="2"/>
                  </a:lnTo>
                  <a:lnTo>
                    <a:pt x="1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10" name="Freeform 14"/>
            <p:cNvSpPr>
              <a:spLocks noEditPoints="1"/>
            </p:cNvSpPr>
            <p:nvPr/>
          </p:nvSpPr>
          <p:spPr bwMode="auto">
            <a:xfrm>
              <a:off x="8261651" y="300565"/>
              <a:ext cx="71805" cy="96919"/>
            </a:xfrm>
            <a:custGeom>
              <a:avLst/>
              <a:gdLst>
                <a:gd name="T0" fmla="*/ 191 w 406"/>
                <a:gd name="T1" fmla="*/ 136 h 547"/>
                <a:gd name="T2" fmla="*/ 168 w 406"/>
                <a:gd name="T3" fmla="*/ 161 h 547"/>
                <a:gd name="T4" fmla="*/ 154 w 406"/>
                <a:gd name="T5" fmla="*/ 207 h 547"/>
                <a:gd name="T6" fmla="*/ 150 w 406"/>
                <a:gd name="T7" fmla="*/ 274 h 547"/>
                <a:gd name="T8" fmla="*/ 154 w 406"/>
                <a:gd name="T9" fmla="*/ 341 h 547"/>
                <a:gd name="T10" fmla="*/ 168 w 406"/>
                <a:gd name="T11" fmla="*/ 388 h 547"/>
                <a:gd name="T12" fmla="*/ 191 w 406"/>
                <a:gd name="T13" fmla="*/ 413 h 547"/>
                <a:gd name="T14" fmla="*/ 218 w 406"/>
                <a:gd name="T15" fmla="*/ 413 h 547"/>
                <a:gd name="T16" fmla="*/ 238 w 406"/>
                <a:gd name="T17" fmla="*/ 387 h 547"/>
                <a:gd name="T18" fmla="*/ 251 w 406"/>
                <a:gd name="T19" fmla="*/ 341 h 547"/>
                <a:gd name="T20" fmla="*/ 257 w 406"/>
                <a:gd name="T21" fmla="*/ 274 h 547"/>
                <a:gd name="T22" fmla="*/ 251 w 406"/>
                <a:gd name="T23" fmla="*/ 208 h 547"/>
                <a:gd name="T24" fmla="*/ 238 w 406"/>
                <a:gd name="T25" fmla="*/ 161 h 547"/>
                <a:gd name="T26" fmla="*/ 218 w 406"/>
                <a:gd name="T27" fmla="*/ 137 h 547"/>
                <a:gd name="T28" fmla="*/ 205 w 406"/>
                <a:gd name="T29" fmla="*/ 0 h 547"/>
                <a:gd name="T30" fmla="*/ 276 w 406"/>
                <a:gd name="T31" fmla="*/ 11 h 547"/>
                <a:gd name="T32" fmla="*/ 332 w 406"/>
                <a:gd name="T33" fmla="*/ 45 h 547"/>
                <a:gd name="T34" fmla="*/ 373 w 406"/>
                <a:gd name="T35" fmla="*/ 101 h 547"/>
                <a:gd name="T36" fmla="*/ 398 w 406"/>
                <a:gd name="T37" fmla="*/ 177 h 547"/>
                <a:gd name="T38" fmla="*/ 406 w 406"/>
                <a:gd name="T39" fmla="*/ 274 h 547"/>
                <a:gd name="T40" fmla="*/ 398 w 406"/>
                <a:gd name="T41" fmla="*/ 370 h 547"/>
                <a:gd name="T42" fmla="*/ 373 w 406"/>
                <a:gd name="T43" fmla="*/ 446 h 547"/>
                <a:gd name="T44" fmla="*/ 331 w 406"/>
                <a:gd name="T45" fmla="*/ 501 h 547"/>
                <a:gd name="T46" fmla="*/ 274 w 406"/>
                <a:gd name="T47" fmla="*/ 535 h 547"/>
                <a:gd name="T48" fmla="*/ 204 w 406"/>
                <a:gd name="T49" fmla="*/ 547 h 547"/>
                <a:gd name="T50" fmla="*/ 134 w 406"/>
                <a:gd name="T51" fmla="*/ 535 h 547"/>
                <a:gd name="T52" fmla="*/ 77 w 406"/>
                <a:gd name="T53" fmla="*/ 500 h 547"/>
                <a:gd name="T54" fmla="*/ 35 w 406"/>
                <a:gd name="T55" fmla="*/ 443 h 547"/>
                <a:gd name="T56" fmla="*/ 8 w 406"/>
                <a:gd name="T57" fmla="*/ 367 h 547"/>
                <a:gd name="T58" fmla="*/ 0 w 406"/>
                <a:gd name="T59" fmla="*/ 274 h 547"/>
                <a:gd name="T60" fmla="*/ 8 w 406"/>
                <a:gd name="T61" fmla="*/ 180 h 547"/>
                <a:gd name="T62" fmla="*/ 35 w 406"/>
                <a:gd name="T63" fmla="*/ 105 h 547"/>
                <a:gd name="T64" fmla="*/ 79 w 406"/>
                <a:gd name="T65" fmla="*/ 47 h 547"/>
                <a:gd name="T66" fmla="*/ 135 w 406"/>
                <a:gd name="T67" fmla="*/ 12 h 547"/>
                <a:gd name="T68" fmla="*/ 205 w 406"/>
                <a:gd name="T69"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6" h="547">
                  <a:moveTo>
                    <a:pt x="204" y="133"/>
                  </a:moveTo>
                  <a:lnTo>
                    <a:pt x="191" y="136"/>
                  </a:lnTo>
                  <a:lnTo>
                    <a:pt x="178" y="145"/>
                  </a:lnTo>
                  <a:lnTo>
                    <a:pt x="168" y="161"/>
                  </a:lnTo>
                  <a:lnTo>
                    <a:pt x="160" y="181"/>
                  </a:lnTo>
                  <a:lnTo>
                    <a:pt x="154" y="207"/>
                  </a:lnTo>
                  <a:lnTo>
                    <a:pt x="151" y="239"/>
                  </a:lnTo>
                  <a:lnTo>
                    <a:pt x="150" y="274"/>
                  </a:lnTo>
                  <a:lnTo>
                    <a:pt x="151" y="310"/>
                  </a:lnTo>
                  <a:lnTo>
                    <a:pt x="154" y="341"/>
                  </a:lnTo>
                  <a:lnTo>
                    <a:pt x="160" y="367"/>
                  </a:lnTo>
                  <a:lnTo>
                    <a:pt x="168" y="388"/>
                  </a:lnTo>
                  <a:lnTo>
                    <a:pt x="178" y="403"/>
                  </a:lnTo>
                  <a:lnTo>
                    <a:pt x="191" y="413"/>
                  </a:lnTo>
                  <a:lnTo>
                    <a:pt x="204" y="415"/>
                  </a:lnTo>
                  <a:lnTo>
                    <a:pt x="218" y="413"/>
                  </a:lnTo>
                  <a:lnTo>
                    <a:pt x="228" y="403"/>
                  </a:lnTo>
                  <a:lnTo>
                    <a:pt x="238" y="387"/>
                  </a:lnTo>
                  <a:lnTo>
                    <a:pt x="246" y="367"/>
                  </a:lnTo>
                  <a:lnTo>
                    <a:pt x="251" y="341"/>
                  </a:lnTo>
                  <a:lnTo>
                    <a:pt x="255" y="310"/>
                  </a:lnTo>
                  <a:lnTo>
                    <a:pt x="257" y="274"/>
                  </a:lnTo>
                  <a:lnTo>
                    <a:pt x="255" y="239"/>
                  </a:lnTo>
                  <a:lnTo>
                    <a:pt x="251" y="208"/>
                  </a:lnTo>
                  <a:lnTo>
                    <a:pt x="246" y="183"/>
                  </a:lnTo>
                  <a:lnTo>
                    <a:pt x="238" y="161"/>
                  </a:lnTo>
                  <a:lnTo>
                    <a:pt x="228" y="146"/>
                  </a:lnTo>
                  <a:lnTo>
                    <a:pt x="218" y="137"/>
                  </a:lnTo>
                  <a:lnTo>
                    <a:pt x="204" y="133"/>
                  </a:lnTo>
                  <a:close/>
                  <a:moveTo>
                    <a:pt x="205" y="0"/>
                  </a:moveTo>
                  <a:lnTo>
                    <a:pt x="242" y="2"/>
                  </a:lnTo>
                  <a:lnTo>
                    <a:pt x="276" y="11"/>
                  </a:lnTo>
                  <a:lnTo>
                    <a:pt x="305" y="25"/>
                  </a:lnTo>
                  <a:lnTo>
                    <a:pt x="332" y="45"/>
                  </a:lnTo>
                  <a:lnTo>
                    <a:pt x="355" y="71"/>
                  </a:lnTo>
                  <a:lnTo>
                    <a:pt x="373" y="101"/>
                  </a:lnTo>
                  <a:lnTo>
                    <a:pt x="388" y="137"/>
                  </a:lnTo>
                  <a:lnTo>
                    <a:pt x="398" y="177"/>
                  </a:lnTo>
                  <a:lnTo>
                    <a:pt x="405" y="223"/>
                  </a:lnTo>
                  <a:lnTo>
                    <a:pt x="406" y="274"/>
                  </a:lnTo>
                  <a:lnTo>
                    <a:pt x="405" y="324"/>
                  </a:lnTo>
                  <a:lnTo>
                    <a:pt x="398" y="370"/>
                  </a:lnTo>
                  <a:lnTo>
                    <a:pt x="388" y="410"/>
                  </a:lnTo>
                  <a:lnTo>
                    <a:pt x="373" y="446"/>
                  </a:lnTo>
                  <a:lnTo>
                    <a:pt x="354" y="476"/>
                  </a:lnTo>
                  <a:lnTo>
                    <a:pt x="331" y="501"/>
                  </a:lnTo>
                  <a:lnTo>
                    <a:pt x="305" y="520"/>
                  </a:lnTo>
                  <a:lnTo>
                    <a:pt x="274" y="535"/>
                  </a:lnTo>
                  <a:lnTo>
                    <a:pt x="240" y="543"/>
                  </a:lnTo>
                  <a:lnTo>
                    <a:pt x="204" y="547"/>
                  </a:lnTo>
                  <a:lnTo>
                    <a:pt x="168" y="543"/>
                  </a:lnTo>
                  <a:lnTo>
                    <a:pt x="134" y="535"/>
                  </a:lnTo>
                  <a:lnTo>
                    <a:pt x="104" y="520"/>
                  </a:lnTo>
                  <a:lnTo>
                    <a:pt x="77" y="500"/>
                  </a:lnTo>
                  <a:lnTo>
                    <a:pt x="54" y="473"/>
                  </a:lnTo>
                  <a:lnTo>
                    <a:pt x="35" y="443"/>
                  </a:lnTo>
                  <a:lnTo>
                    <a:pt x="21" y="407"/>
                  </a:lnTo>
                  <a:lnTo>
                    <a:pt x="8" y="367"/>
                  </a:lnTo>
                  <a:lnTo>
                    <a:pt x="2" y="322"/>
                  </a:lnTo>
                  <a:lnTo>
                    <a:pt x="0" y="274"/>
                  </a:lnTo>
                  <a:lnTo>
                    <a:pt x="2" y="224"/>
                  </a:lnTo>
                  <a:lnTo>
                    <a:pt x="8" y="180"/>
                  </a:lnTo>
                  <a:lnTo>
                    <a:pt x="21" y="140"/>
                  </a:lnTo>
                  <a:lnTo>
                    <a:pt x="35" y="105"/>
                  </a:lnTo>
                  <a:lnTo>
                    <a:pt x="54" y="74"/>
                  </a:lnTo>
                  <a:lnTo>
                    <a:pt x="79" y="47"/>
                  </a:lnTo>
                  <a:lnTo>
                    <a:pt x="104" y="27"/>
                  </a:lnTo>
                  <a:lnTo>
                    <a:pt x="135" y="12"/>
                  </a:lnTo>
                  <a:lnTo>
                    <a:pt x="169" y="2"/>
                  </a:lnTo>
                  <a:lnTo>
                    <a:pt x="20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11" name="Freeform 15"/>
            <p:cNvSpPr>
              <a:spLocks/>
            </p:cNvSpPr>
            <p:nvPr/>
          </p:nvSpPr>
          <p:spPr bwMode="auto">
            <a:xfrm>
              <a:off x="8353264" y="244678"/>
              <a:ext cx="48813" cy="151038"/>
            </a:xfrm>
            <a:custGeom>
              <a:avLst/>
              <a:gdLst>
                <a:gd name="T0" fmla="*/ 210 w 276"/>
                <a:gd name="T1" fmla="*/ 0 h 856"/>
                <a:gd name="T2" fmla="*/ 225 w 276"/>
                <a:gd name="T3" fmla="*/ 2 h 856"/>
                <a:gd name="T4" fmla="*/ 239 w 276"/>
                <a:gd name="T5" fmla="*/ 3 h 856"/>
                <a:gd name="T6" fmla="*/ 256 w 276"/>
                <a:gd name="T7" fmla="*/ 7 h 856"/>
                <a:gd name="T8" fmla="*/ 276 w 276"/>
                <a:gd name="T9" fmla="*/ 14 h 856"/>
                <a:gd name="T10" fmla="*/ 276 w 276"/>
                <a:gd name="T11" fmla="*/ 155 h 856"/>
                <a:gd name="T12" fmla="*/ 265 w 276"/>
                <a:gd name="T13" fmla="*/ 150 h 856"/>
                <a:gd name="T14" fmla="*/ 258 w 276"/>
                <a:gd name="T15" fmla="*/ 147 h 856"/>
                <a:gd name="T16" fmla="*/ 253 w 276"/>
                <a:gd name="T17" fmla="*/ 147 h 856"/>
                <a:gd name="T18" fmla="*/ 247 w 276"/>
                <a:gd name="T19" fmla="*/ 146 h 856"/>
                <a:gd name="T20" fmla="*/ 234 w 276"/>
                <a:gd name="T21" fmla="*/ 148 h 856"/>
                <a:gd name="T22" fmla="*/ 223 w 276"/>
                <a:gd name="T23" fmla="*/ 154 h 856"/>
                <a:gd name="T24" fmla="*/ 215 w 276"/>
                <a:gd name="T25" fmla="*/ 163 h 856"/>
                <a:gd name="T26" fmla="*/ 210 w 276"/>
                <a:gd name="T27" fmla="*/ 177 h 856"/>
                <a:gd name="T28" fmla="*/ 207 w 276"/>
                <a:gd name="T29" fmla="*/ 197 h 856"/>
                <a:gd name="T30" fmla="*/ 206 w 276"/>
                <a:gd name="T31" fmla="*/ 222 h 856"/>
                <a:gd name="T32" fmla="*/ 206 w 276"/>
                <a:gd name="T33" fmla="*/ 329 h 856"/>
                <a:gd name="T34" fmla="*/ 276 w 276"/>
                <a:gd name="T35" fmla="*/ 329 h 856"/>
                <a:gd name="T36" fmla="*/ 276 w 276"/>
                <a:gd name="T37" fmla="*/ 450 h 856"/>
                <a:gd name="T38" fmla="*/ 207 w 276"/>
                <a:gd name="T39" fmla="*/ 450 h 856"/>
                <a:gd name="T40" fmla="*/ 207 w 276"/>
                <a:gd name="T41" fmla="*/ 856 h 856"/>
                <a:gd name="T42" fmla="*/ 57 w 276"/>
                <a:gd name="T43" fmla="*/ 856 h 856"/>
                <a:gd name="T44" fmla="*/ 57 w 276"/>
                <a:gd name="T45" fmla="*/ 450 h 856"/>
                <a:gd name="T46" fmla="*/ 0 w 276"/>
                <a:gd name="T47" fmla="*/ 450 h 856"/>
                <a:gd name="T48" fmla="*/ 0 w 276"/>
                <a:gd name="T49" fmla="*/ 329 h 856"/>
                <a:gd name="T50" fmla="*/ 57 w 276"/>
                <a:gd name="T51" fmla="*/ 329 h 856"/>
                <a:gd name="T52" fmla="*/ 57 w 276"/>
                <a:gd name="T53" fmla="*/ 167 h 856"/>
                <a:gd name="T54" fmla="*/ 59 w 276"/>
                <a:gd name="T55" fmla="*/ 131 h 856"/>
                <a:gd name="T56" fmla="*/ 63 w 276"/>
                <a:gd name="T57" fmla="*/ 100 h 856"/>
                <a:gd name="T58" fmla="*/ 71 w 276"/>
                <a:gd name="T59" fmla="*/ 74 h 856"/>
                <a:gd name="T60" fmla="*/ 83 w 276"/>
                <a:gd name="T61" fmla="*/ 54 h 856"/>
                <a:gd name="T62" fmla="*/ 99 w 276"/>
                <a:gd name="T63" fmla="*/ 37 h 856"/>
                <a:gd name="T64" fmla="*/ 121 w 276"/>
                <a:gd name="T65" fmla="*/ 23 h 856"/>
                <a:gd name="T66" fmla="*/ 148 w 276"/>
                <a:gd name="T67" fmla="*/ 11 h 856"/>
                <a:gd name="T68" fmla="*/ 179 w 276"/>
                <a:gd name="T69" fmla="*/ 3 h 856"/>
                <a:gd name="T70" fmla="*/ 210 w 276"/>
                <a:gd name="T71" fmla="*/ 0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856">
                  <a:moveTo>
                    <a:pt x="210" y="0"/>
                  </a:moveTo>
                  <a:lnTo>
                    <a:pt x="225" y="2"/>
                  </a:lnTo>
                  <a:lnTo>
                    <a:pt x="239" y="3"/>
                  </a:lnTo>
                  <a:lnTo>
                    <a:pt x="256" y="7"/>
                  </a:lnTo>
                  <a:lnTo>
                    <a:pt x="276" y="14"/>
                  </a:lnTo>
                  <a:lnTo>
                    <a:pt x="276" y="155"/>
                  </a:lnTo>
                  <a:lnTo>
                    <a:pt x="265" y="150"/>
                  </a:lnTo>
                  <a:lnTo>
                    <a:pt x="258" y="147"/>
                  </a:lnTo>
                  <a:lnTo>
                    <a:pt x="253" y="147"/>
                  </a:lnTo>
                  <a:lnTo>
                    <a:pt x="247" y="146"/>
                  </a:lnTo>
                  <a:lnTo>
                    <a:pt x="234" y="148"/>
                  </a:lnTo>
                  <a:lnTo>
                    <a:pt x="223" y="154"/>
                  </a:lnTo>
                  <a:lnTo>
                    <a:pt x="215" y="163"/>
                  </a:lnTo>
                  <a:lnTo>
                    <a:pt x="210" y="177"/>
                  </a:lnTo>
                  <a:lnTo>
                    <a:pt x="207" y="197"/>
                  </a:lnTo>
                  <a:lnTo>
                    <a:pt x="206" y="222"/>
                  </a:lnTo>
                  <a:lnTo>
                    <a:pt x="206" y="329"/>
                  </a:lnTo>
                  <a:lnTo>
                    <a:pt x="276" y="329"/>
                  </a:lnTo>
                  <a:lnTo>
                    <a:pt x="276" y="450"/>
                  </a:lnTo>
                  <a:lnTo>
                    <a:pt x="207" y="450"/>
                  </a:lnTo>
                  <a:lnTo>
                    <a:pt x="207" y="856"/>
                  </a:lnTo>
                  <a:lnTo>
                    <a:pt x="57" y="856"/>
                  </a:lnTo>
                  <a:lnTo>
                    <a:pt x="57" y="450"/>
                  </a:lnTo>
                  <a:lnTo>
                    <a:pt x="0" y="450"/>
                  </a:lnTo>
                  <a:lnTo>
                    <a:pt x="0" y="329"/>
                  </a:lnTo>
                  <a:lnTo>
                    <a:pt x="57" y="329"/>
                  </a:lnTo>
                  <a:lnTo>
                    <a:pt x="57" y="167"/>
                  </a:lnTo>
                  <a:lnTo>
                    <a:pt x="59" y="131"/>
                  </a:lnTo>
                  <a:lnTo>
                    <a:pt x="63" y="100"/>
                  </a:lnTo>
                  <a:lnTo>
                    <a:pt x="71" y="74"/>
                  </a:lnTo>
                  <a:lnTo>
                    <a:pt x="83" y="54"/>
                  </a:lnTo>
                  <a:lnTo>
                    <a:pt x="99" y="37"/>
                  </a:lnTo>
                  <a:lnTo>
                    <a:pt x="121" y="23"/>
                  </a:lnTo>
                  <a:lnTo>
                    <a:pt x="148" y="11"/>
                  </a:lnTo>
                  <a:lnTo>
                    <a:pt x="179" y="3"/>
                  </a:lnTo>
                  <a:lnTo>
                    <a:pt x="2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12" name="Freeform 16"/>
            <p:cNvSpPr>
              <a:spLocks/>
            </p:cNvSpPr>
            <p:nvPr/>
          </p:nvSpPr>
          <p:spPr bwMode="auto">
            <a:xfrm>
              <a:off x="8427191" y="276866"/>
              <a:ext cx="46337" cy="118849"/>
            </a:xfrm>
            <a:custGeom>
              <a:avLst/>
              <a:gdLst>
                <a:gd name="T0" fmla="*/ 50 w 260"/>
                <a:gd name="T1" fmla="*/ 0 h 671"/>
                <a:gd name="T2" fmla="*/ 200 w 260"/>
                <a:gd name="T3" fmla="*/ 0 h 671"/>
                <a:gd name="T4" fmla="*/ 200 w 260"/>
                <a:gd name="T5" fmla="*/ 146 h 671"/>
                <a:gd name="T6" fmla="*/ 260 w 260"/>
                <a:gd name="T7" fmla="*/ 146 h 671"/>
                <a:gd name="T8" fmla="*/ 260 w 260"/>
                <a:gd name="T9" fmla="*/ 267 h 671"/>
                <a:gd name="T10" fmla="*/ 200 w 260"/>
                <a:gd name="T11" fmla="*/ 267 h 671"/>
                <a:gd name="T12" fmla="*/ 200 w 260"/>
                <a:gd name="T13" fmla="*/ 671 h 671"/>
                <a:gd name="T14" fmla="*/ 50 w 260"/>
                <a:gd name="T15" fmla="*/ 671 h 671"/>
                <a:gd name="T16" fmla="*/ 50 w 260"/>
                <a:gd name="T17" fmla="*/ 267 h 671"/>
                <a:gd name="T18" fmla="*/ 0 w 260"/>
                <a:gd name="T19" fmla="*/ 267 h 671"/>
                <a:gd name="T20" fmla="*/ 0 w 260"/>
                <a:gd name="T21" fmla="*/ 146 h 671"/>
                <a:gd name="T22" fmla="*/ 50 w 260"/>
                <a:gd name="T23" fmla="*/ 146 h 671"/>
                <a:gd name="T24" fmla="*/ 50 w 260"/>
                <a:gd name="T25"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671">
                  <a:moveTo>
                    <a:pt x="50" y="0"/>
                  </a:moveTo>
                  <a:lnTo>
                    <a:pt x="200" y="0"/>
                  </a:lnTo>
                  <a:lnTo>
                    <a:pt x="200" y="146"/>
                  </a:lnTo>
                  <a:lnTo>
                    <a:pt x="260" y="146"/>
                  </a:lnTo>
                  <a:lnTo>
                    <a:pt x="260" y="267"/>
                  </a:lnTo>
                  <a:lnTo>
                    <a:pt x="200" y="267"/>
                  </a:lnTo>
                  <a:lnTo>
                    <a:pt x="200" y="671"/>
                  </a:lnTo>
                  <a:lnTo>
                    <a:pt x="50" y="671"/>
                  </a:lnTo>
                  <a:lnTo>
                    <a:pt x="50" y="267"/>
                  </a:lnTo>
                  <a:lnTo>
                    <a:pt x="0" y="267"/>
                  </a:lnTo>
                  <a:lnTo>
                    <a:pt x="0" y="146"/>
                  </a:lnTo>
                  <a:lnTo>
                    <a:pt x="50" y="146"/>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13" name="Freeform 17"/>
            <p:cNvSpPr>
              <a:spLocks/>
            </p:cNvSpPr>
            <p:nvPr/>
          </p:nvSpPr>
          <p:spPr bwMode="auto">
            <a:xfrm>
              <a:off x="8496873" y="300565"/>
              <a:ext cx="49874" cy="96565"/>
            </a:xfrm>
            <a:custGeom>
              <a:avLst/>
              <a:gdLst>
                <a:gd name="T0" fmla="*/ 206 w 282"/>
                <a:gd name="T1" fmla="*/ 0 h 546"/>
                <a:gd name="T2" fmla="*/ 222 w 282"/>
                <a:gd name="T3" fmla="*/ 0 h 546"/>
                <a:gd name="T4" fmla="*/ 237 w 282"/>
                <a:gd name="T5" fmla="*/ 1 h 546"/>
                <a:gd name="T6" fmla="*/ 251 w 282"/>
                <a:gd name="T7" fmla="*/ 4 h 546"/>
                <a:gd name="T8" fmla="*/ 265 w 282"/>
                <a:gd name="T9" fmla="*/ 8 h 546"/>
                <a:gd name="T10" fmla="*/ 282 w 282"/>
                <a:gd name="T11" fmla="*/ 15 h 546"/>
                <a:gd name="T12" fmla="*/ 282 w 282"/>
                <a:gd name="T13" fmla="*/ 144 h 546"/>
                <a:gd name="T14" fmla="*/ 268 w 282"/>
                <a:gd name="T15" fmla="*/ 133 h 546"/>
                <a:gd name="T16" fmla="*/ 255 w 282"/>
                <a:gd name="T17" fmla="*/ 129 h 546"/>
                <a:gd name="T18" fmla="*/ 238 w 282"/>
                <a:gd name="T19" fmla="*/ 127 h 546"/>
                <a:gd name="T20" fmla="*/ 217 w 282"/>
                <a:gd name="T21" fmla="*/ 130 h 546"/>
                <a:gd name="T22" fmla="*/ 197 w 282"/>
                <a:gd name="T23" fmla="*/ 140 h 546"/>
                <a:gd name="T24" fmla="*/ 180 w 282"/>
                <a:gd name="T25" fmla="*/ 154 h 546"/>
                <a:gd name="T26" fmla="*/ 168 w 282"/>
                <a:gd name="T27" fmla="*/ 176 h 546"/>
                <a:gd name="T28" fmla="*/ 159 w 282"/>
                <a:gd name="T29" fmla="*/ 201 h 546"/>
                <a:gd name="T30" fmla="*/ 152 w 282"/>
                <a:gd name="T31" fmla="*/ 232 h 546"/>
                <a:gd name="T32" fmla="*/ 151 w 282"/>
                <a:gd name="T33" fmla="*/ 269 h 546"/>
                <a:gd name="T34" fmla="*/ 152 w 282"/>
                <a:gd name="T35" fmla="*/ 305 h 546"/>
                <a:gd name="T36" fmla="*/ 157 w 282"/>
                <a:gd name="T37" fmla="*/ 336 h 546"/>
                <a:gd name="T38" fmla="*/ 167 w 282"/>
                <a:gd name="T39" fmla="*/ 363 h 546"/>
                <a:gd name="T40" fmla="*/ 179 w 282"/>
                <a:gd name="T41" fmla="*/ 383 h 546"/>
                <a:gd name="T42" fmla="*/ 194 w 282"/>
                <a:gd name="T43" fmla="*/ 398 h 546"/>
                <a:gd name="T44" fmla="*/ 213 w 282"/>
                <a:gd name="T45" fmla="*/ 406 h 546"/>
                <a:gd name="T46" fmla="*/ 234 w 282"/>
                <a:gd name="T47" fmla="*/ 410 h 546"/>
                <a:gd name="T48" fmla="*/ 248 w 282"/>
                <a:gd name="T49" fmla="*/ 409 h 546"/>
                <a:gd name="T50" fmla="*/ 259 w 282"/>
                <a:gd name="T51" fmla="*/ 407 h 546"/>
                <a:gd name="T52" fmla="*/ 269 w 282"/>
                <a:gd name="T53" fmla="*/ 402 h 546"/>
                <a:gd name="T54" fmla="*/ 282 w 282"/>
                <a:gd name="T55" fmla="*/ 395 h 546"/>
                <a:gd name="T56" fmla="*/ 282 w 282"/>
                <a:gd name="T57" fmla="*/ 530 h 546"/>
                <a:gd name="T58" fmla="*/ 263 w 282"/>
                <a:gd name="T59" fmla="*/ 536 h 546"/>
                <a:gd name="T60" fmla="*/ 245 w 282"/>
                <a:gd name="T61" fmla="*/ 542 h 546"/>
                <a:gd name="T62" fmla="*/ 230 w 282"/>
                <a:gd name="T63" fmla="*/ 544 h 546"/>
                <a:gd name="T64" fmla="*/ 214 w 282"/>
                <a:gd name="T65" fmla="*/ 546 h 546"/>
                <a:gd name="T66" fmla="*/ 195 w 282"/>
                <a:gd name="T67" fmla="*/ 546 h 546"/>
                <a:gd name="T68" fmla="*/ 159 w 282"/>
                <a:gd name="T69" fmla="*/ 543 h 546"/>
                <a:gd name="T70" fmla="*/ 124 w 282"/>
                <a:gd name="T71" fmla="*/ 531 h 546"/>
                <a:gd name="T72" fmla="*/ 93 w 282"/>
                <a:gd name="T73" fmla="*/ 513 h 546"/>
                <a:gd name="T74" fmla="*/ 66 w 282"/>
                <a:gd name="T75" fmla="*/ 488 h 546"/>
                <a:gd name="T76" fmla="*/ 43 w 282"/>
                <a:gd name="T77" fmla="*/ 457 h 546"/>
                <a:gd name="T78" fmla="*/ 25 w 282"/>
                <a:gd name="T79" fmla="*/ 421 h 546"/>
                <a:gd name="T80" fmla="*/ 12 w 282"/>
                <a:gd name="T81" fmla="*/ 379 h 546"/>
                <a:gd name="T82" fmla="*/ 4 w 282"/>
                <a:gd name="T83" fmla="*/ 331 h 546"/>
                <a:gd name="T84" fmla="*/ 0 w 282"/>
                <a:gd name="T85" fmla="*/ 279 h 546"/>
                <a:gd name="T86" fmla="*/ 2 w 282"/>
                <a:gd name="T87" fmla="*/ 230 h 546"/>
                <a:gd name="T88" fmla="*/ 9 w 282"/>
                <a:gd name="T89" fmla="*/ 184 h 546"/>
                <a:gd name="T90" fmla="*/ 21 w 282"/>
                <a:gd name="T91" fmla="*/ 142 h 546"/>
                <a:gd name="T92" fmla="*/ 36 w 282"/>
                <a:gd name="T93" fmla="*/ 106 h 546"/>
                <a:gd name="T94" fmla="*/ 55 w 282"/>
                <a:gd name="T95" fmla="*/ 74 h 546"/>
                <a:gd name="T96" fmla="*/ 78 w 282"/>
                <a:gd name="T97" fmla="*/ 48 h 546"/>
                <a:gd name="T98" fmla="*/ 105 w 282"/>
                <a:gd name="T99" fmla="*/ 27 h 546"/>
                <a:gd name="T100" fmla="*/ 136 w 282"/>
                <a:gd name="T101" fmla="*/ 12 h 546"/>
                <a:gd name="T102" fmla="*/ 170 w 282"/>
                <a:gd name="T103" fmla="*/ 2 h 546"/>
                <a:gd name="T104" fmla="*/ 206 w 282"/>
                <a:gd name="T10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2" h="546">
                  <a:moveTo>
                    <a:pt x="206" y="0"/>
                  </a:moveTo>
                  <a:lnTo>
                    <a:pt x="222" y="0"/>
                  </a:lnTo>
                  <a:lnTo>
                    <a:pt x="237" y="1"/>
                  </a:lnTo>
                  <a:lnTo>
                    <a:pt x="251" y="4"/>
                  </a:lnTo>
                  <a:lnTo>
                    <a:pt x="265" y="8"/>
                  </a:lnTo>
                  <a:lnTo>
                    <a:pt x="282" y="15"/>
                  </a:lnTo>
                  <a:lnTo>
                    <a:pt x="282" y="144"/>
                  </a:lnTo>
                  <a:lnTo>
                    <a:pt x="268" y="133"/>
                  </a:lnTo>
                  <a:lnTo>
                    <a:pt x="255" y="129"/>
                  </a:lnTo>
                  <a:lnTo>
                    <a:pt x="238" y="127"/>
                  </a:lnTo>
                  <a:lnTo>
                    <a:pt x="217" y="130"/>
                  </a:lnTo>
                  <a:lnTo>
                    <a:pt x="197" y="140"/>
                  </a:lnTo>
                  <a:lnTo>
                    <a:pt x="180" y="154"/>
                  </a:lnTo>
                  <a:lnTo>
                    <a:pt x="168" y="176"/>
                  </a:lnTo>
                  <a:lnTo>
                    <a:pt x="159" y="201"/>
                  </a:lnTo>
                  <a:lnTo>
                    <a:pt x="152" y="232"/>
                  </a:lnTo>
                  <a:lnTo>
                    <a:pt x="151" y="269"/>
                  </a:lnTo>
                  <a:lnTo>
                    <a:pt x="152" y="305"/>
                  </a:lnTo>
                  <a:lnTo>
                    <a:pt x="157" y="336"/>
                  </a:lnTo>
                  <a:lnTo>
                    <a:pt x="167" y="363"/>
                  </a:lnTo>
                  <a:lnTo>
                    <a:pt x="179" y="383"/>
                  </a:lnTo>
                  <a:lnTo>
                    <a:pt x="194" y="398"/>
                  </a:lnTo>
                  <a:lnTo>
                    <a:pt x="213" y="406"/>
                  </a:lnTo>
                  <a:lnTo>
                    <a:pt x="234" y="410"/>
                  </a:lnTo>
                  <a:lnTo>
                    <a:pt x="248" y="409"/>
                  </a:lnTo>
                  <a:lnTo>
                    <a:pt x="259" y="407"/>
                  </a:lnTo>
                  <a:lnTo>
                    <a:pt x="269" y="402"/>
                  </a:lnTo>
                  <a:lnTo>
                    <a:pt x="282" y="395"/>
                  </a:lnTo>
                  <a:lnTo>
                    <a:pt x="282" y="530"/>
                  </a:lnTo>
                  <a:lnTo>
                    <a:pt x="263" y="536"/>
                  </a:lnTo>
                  <a:lnTo>
                    <a:pt x="245" y="542"/>
                  </a:lnTo>
                  <a:lnTo>
                    <a:pt x="230" y="544"/>
                  </a:lnTo>
                  <a:lnTo>
                    <a:pt x="214" y="546"/>
                  </a:lnTo>
                  <a:lnTo>
                    <a:pt x="195" y="546"/>
                  </a:lnTo>
                  <a:lnTo>
                    <a:pt x="159" y="543"/>
                  </a:lnTo>
                  <a:lnTo>
                    <a:pt x="124" y="531"/>
                  </a:lnTo>
                  <a:lnTo>
                    <a:pt x="93" y="513"/>
                  </a:lnTo>
                  <a:lnTo>
                    <a:pt x="66" y="488"/>
                  </a:lnTo>
                  <a:lnTo>
                    <a:pt x="43" y="457"/>
                  </a:lnTo>
                  <a:lnTo>
                    <a:pt x="25" y="421"/>
                  </a:lnTo>
                  <a:lnTo>
                    <a:pt x="12" y="379"/>
                  </a:lnTo>
                  <a:lnTo>
                    <a:pt x="4" y="331"/>
                  </a:lnTo>
                  <a:lnTo>
                    <a:pt x="0" y="279"/>
                  </a:lnTo>
                  <a:lnTo>
                    <a:pt x="2" y="230"/>
                  </a:lnTo>
                  <a:lnTo>
                    <a:pt x="9" y="184"/>
                  </a:lnTo>
                  <a:lnTo>
                    <a:pt x="21" y="142"/>
                  </a:lnTo>
                  <a:lnTo>
                    <a:pt x="36" y="106"/>
                  </a:lnTo>
                  <a:lnTo>
                    <a:pt x="55" y="74"/>
                  </a:lnTo>
                  <a:lnTo>
                    <a:pt x="78" y="48"/>
                  </a:lnTo>
                  <a:lnTo>
                    <a:pt x="105" y="27"/>
                  </a:lnTo>
                  <a:lnTo>
                    <a:pt x="136" y="12"/>
                  </a:lnTo>
                  <a:lnTo>
                    <a:pt x="170" y="2"/>
                  </a:lnTo>
                  <a:lnTo>
                    <a:pt x="20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14" name="Freeform 18"/>
            <p:cNvSpPr>
              <a:spLocks/>
            </p:cNvSpPr>
            <p:nvPr/>
          </p:nvSpPr>
          <p:spPr bwMode="auto">
            <a:xfrm>
              <a:off x="8576106" y="246800"/>
              <a:ext cx="66499" cy="148915"/>
            </a:xfrm>
            <a:custGeom>
              <a:avLst/>
              <a:gdLst>
                <a:gd name="T0" fmla="*/ 0 w 376"/>
                <a:gd name="T1" fmla="*/ 0 h 841"/>
                <a:gd name="T2" fmla="*/ 149 w 376"/>
                <a:gd name="T3" fmla="*/ 0 h 841"/>
                <a:gd name="T4" fmla="*/ 149 w 376"/>
                <a:gd name="T5" fmla="*/ 396 h 841"/>
                <a:gd name="T6" fmla="*/ 171 w 376"/>
                <a:gd name="T7" fmla="*/ 363 h 841"/>
                <a:gd name="T8" fmla="*/ 193 w 376"/>
                <a:gd name="T9" fmla="*/ 337 h 841"/>
                <a:gd name="T10" fmla="*/ 218 w 376"/>
                <a:gd name="T11" fmla="*/ 318 h 841"/>
                <a:gd name="T12" fmla="*/ 247 w 376"/>
                <a:gd name="T13" fmla="*/ 307 h 841"/>
                <a:gd name="T14" fmla="*/ 278 w 376"/>
                <a:gd name="T15" fmla="*/ 305 h 841"/>
                <a:gd name="T16" fmla="*/ 301 w 376"/>
                <a:gd name="T17" fmla="*/ 306 h 841"/>
                <a:gd name="T18" fmla="*/ 321 w 376"/>
                <a:gd name="T19" fmla="*/ 311 h 841"/>
                <a:gd name="T20" fmla="*/ 337 w 376"/>
                <a:gd name="T21" fmla="*/ 321 h 841"/>
                <a:gd name="T22" fmla="*/ 349 w 376"/>
                <a:gd name="T23" fmla="*/ 336 h 841"/>
                <a:gd name="T24" fmla="*/ 360 w 376"/>
                <a:gd name="T25" fmla="*/ 355 h 841"/>
                <a:gd name="T26" fmla="*/ 367 w 376"/>
                <a:gd name="T27" fmla="*/ 379 h 841"/>
                <a:gd name="T28" fmla="*/ 372 w 376"/>
                <a:gd name="T29" fmla="*/ 410 h 841"/>
                <a:gd name="T30" fmla="*/ 375 w 376"/>
                <a:gd name="T31" fmla="*/ 446 h 841"/>
                <a:gd name="T32" fmla="*/ 376 w 376"/>
                <a:gd name="T33" fmla="*/ 490 h 841"/>
                <a:gd name="T34" fmla="*/ 376 w 376"/>
                <a:gd name="T35" fmla="*/ 841 h 841"/>
                <a:gd name="T36" fmla="*/ 226 w 376"/>
                <a:gd name="T37" fmla="*/ 841 h 841"/>
                <a:gd name="T38" fmla="*/ 226 w 376"/>
                <a:gd name="T39" fmla="*/ 540 h 841"/>
                <a:gd name="T40" fmla="*/ 225 w 376"/>
                <a:gd name="T41" fmla="*/ 509 h 841"/>
                <a:gd name="T42" fmla="*/ 224 w 376"/>
                <a:gd name="T43" fmla="*/ 486 h 841"/>
                <a:gd name="T44" fmla="*/ 220 w 376"/>
                <a:gd name="T45" fmla="*/ 470 h 841"/>
                <a:gd name="T46" fmla="*/ 213 w 376"/>
                <a:gd name="T47" fmla="*/ 459 h 841"/>
                <a:gd name="T48" fmla="*/ 203 w 376"/>
                <a:gd name="T49" fmla="*/ 455 h 841"/>
                <a:gd name="T50" fmla="*/ 190 w 376"/>
                <a:gd name="T51" fmla="*/ 453 h 841"/>
                <a:gd name="T52" fmla="*/ 175 w 376"/>
                <a:gd name="T53" fmla="*/ 455 h 841"/>
                <a:gd name="T54" fmla="*/ 166 w 376"/>
                <a:gd name="T55" fmla="*/ 461 h 841"/>
                <a:gd name="T56" fmla="*/ 157 w 376"/>
                <a:gd name="T57" fmla="*/ 471 h 841"/>
                <a:gd name="T58" fmla="*/ 153 w 376"/>
                <a:gd name="T59" fmla="*/ 488 h 841"/>
                <a:gd name="T60" fmla="*/ 151 w 376"/>
                <a:gd name="T61" fmla="*/ 510 h 841"/>
                <a:gd name="T62" fmla="*/ 149 w 376"/>
                <a:gd name="T63" fmla="*/ 540 h 841"/>
                <a:gd name="T64" fmla="*/ 149 w 376"/>
                <a:gd name="T65" fmla="*/ 841 h 841"/>
                <a:gd name="T66" fmla="*/ 0 w 376"/>
                <a:gd name="T67" fmla="*/ 841 h 841"/>
                <a:gd name="T68" fmla="*/ 0 w 376"/>
                <a:gd name="T69" fmla="*/ 0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6" h="841">
                  <a:moveTo>
                    <a:pt x="0" y="0"/>
                  </a:moveTo>
                  <a:lnTo>
                    <a:pt x="149" y="0"/>
                  </a:lnTo>
                  <a:lnTo>
                    <a:pt x="149" y="396"/>
                  </a:lnTo>
                  <a:lnTo>
                    <a:pt x="171" y="363"/>
                  </a:lnTo>
                  <a:lnTo>
                    <a:pt x="193" y="337"/>
                  </a:lnTo>
                  <a:lnTo>
                    <a:pt x="218" y="318"/>
                  </a:lnTo>
                  <a:lnTo>
                    <a:pt x="247" y="307"/>
                  </a:lnTo>
                  <a:lnTo>
                    <a:pt x="278" y="305"/>
                  </a:lnTo>
                  <a:lnTo>
                    <a:pt x="301" y="306"/>
                  </a:lnTo>
                  <a:lnTo>
                    <a:pt x="321" y="311"/>
                  </a:lnTo>
                  <a:lnTo>
                    <a:pt x="337" y="321"/>
                  </a:lnTo>
                  <a:lnTo>
                    <a:pt x="349" y="336"/>
                  </a:lnTo>
                  <a:lnTo>
                    <a:pt x="360" y="355"/>
                  </a:lnTo>
                  <a:lnTo>
                    <a:pt x="367" y="379"/>
                  </a:lnTo>
                  <a:lnTo>
                    <a:pt x="372" y="410"/>
                  </a:lnTo>
                  <a:lnTo>
                    <a:pt x="375" y="446"/>
                  </a:lnTo>
                  <a:lnTo>
                    <a:pt x="376" y="490"/>
                  </a:lnTo>
                  <a:lnTo>
                    <a:pt x="376" y="841"/>
                  </a:lnTo>
                  <a:lnTo>
                    <a:pt x="226" y="841"/>
                  </a:lnTo>
                  <a:lnTo>
                    <a:pt x="226" y="540"/>
                  </a:lnTo>
                  <a:lnTo>
                    <a:pt x="225" y="509"/>
                  </a:lnTo>
                  <a:lnTo>
                    <a:pt x="224" y="486"/>
                  </a:lnTo>
                  <a:lnTo>
                    <a:pt x="220" y="470"/>
                  </a:lnTo>
                  <a:lnTo>
                    <a:pt x="213" y="459"/>
                  </a:lnTo>
                  <a:lnTo>
                    <a:pt x="203" y="455"/>
                  </a:lnTo>
                  <a:lnTo>
                    <a:pt x="190" y="453"/>
                  </a:lnTo>
                  <a:lnTo>
                    <a:pt x="175" y="455"/>
                  </a:lnTo>
                  <a:lnTo>
                    <a:pt x="166" y="461"/>
                  </a:lnTo>
                  <a:lnTo>
                    <a:pt x="157" y="471"/>
                  </a:lnTo>
                  <a:lnTo>
                    <a:pt x="153" y="488"/>
                  </a:lnTo>
                  <a:lnTo>
                    <a:pt x="151" y="510"/>
                  </a:lnTo>
                  <a:lnTo>
                    <a:pt x="149" y="540"/>
                  </a:lnTo>
                  <a:lnTo>
                    <a:pt x="149" y="841"/>
                  </a:lnTo>
                  <a:lnTo>
                    <a:pt x="0" y="84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15" name="Freeform 19"/>
            <p:cNvSpPr>
              <a:spLocks noEditPoints="1"/>
            </p:cNvSpPr>
            <p:nvPr/>
          </p:nvSpPr>
          <p:spPr bwMode="auto">
            <a:xfrm>
              <a:off x="8668073" y="300565"/>
              <a:ext cx="71805" cy="96919"/>
            </a:xfrm>
            <a:custGeom>
              <a:avLst/>
              <a:gdLst>
                <a:gd name="T0" fmla="*/ 190 w 406"/>
                <a:gd name="T1" fmla="*/ 136 h 547"/>
                <a:gd name="T2" fmla="*/ 167 w 406"/>
                <a:gd name="T3" fmla="*/ 161 h 547"/>
                <a:gd name="T4" fmla="*/ 154 w 406"/>
                <a:gd name="T5" fmla="*/ 207 h 547"/>
                <a:gd name="T6" fmla="*/ 150 w 406"/>
                <a:gd name="T7" fmla="*/ 274 h 547"/>
                <a:gd name="T8" fmla="*/ 154 w 406"/>
                <a:gd name="T9" fmla="*/ 341 h 547"/>
                <a:gd name="T10" fmla="*/ 167 w 406"/>
                <a:gd name="T11" fmla="*/ 388 h 547"/>
                <a:gd name="T12" fmla="*/ 190 w 406"/>
                <a:gd name="T13" fmla="*/ 413 h 547"/>
                <a:gd name="T14" fmla="*/ 217 w 406"/>
                <a:gd name="T15" fmla="*/ 413 h 547"/>
                <a:gd name="T16" fmla="*/ 238 w 406"/>
                <a:gd name="T17" fmla="*/ 387 h 547"/>
                <a:gd name="T18" fmla="*/ 251 w 406"/>
                <a:gd name="T19" fmla="*/ 341 h 547"/>
                <a:gd name="T20" fmla="*/ 257 w 406"/>
                <a:gd name="T21" fmla="*/ 274 h 547"/>
                <a:gd name="T22" fmla="*/ 251 w 406"/>
                <a:gd name="T23" fmla="*/ 208 h 547"/>
                <a:gd name="T24" fmla="*/ 238 w 406"/>
                <a:gd name="T25" fmla="*/ 161 h 547"/>
                <a:gd name="T26" fmla="*/ 217 w 406"/>
                <a:gd name="T27" fmla="*/ 137 h 547"/>
                <a:gd name="T28" fmla="*/ 205 w 406"/>
                <a:gd name="T29" fmla="*/ 0 h 547"/>
                <a:gd name="T30" fmla="*/ 275 w 406"/>
                <a:gd name="T31" fmla="*/ 11 h 547"/>
                <a:gd name="T32" fmla="*/ 332 w 406"/>
                <a:gd name="T33" fmla="*/ 45 h 547"/>
                <a:gd name="T34" fmla="*/ 373 w 406"/>
                <a:gd name="T35" fmla="*/ 101 h 547"/>
                <a:gd name="T36" fmla="*/ 398 w 406"/>
                <a:gd name="T37" fmla="*/ 177 h 547"/>
                <a:gd name="T38" fmla="*/ 406 w 406"/>
                <a:gd name="T39" fmla="*/ 274 h 547"/>
                <a:gd name="T40" fmla="*/ 398 w 406"/>
                <a:gd name="T41" fmla="*/ 370 h 547"/>
                <a:gd name="T42" fmla="*/ 373 w 406"/>
                <a:gd name="T43" fmla="*/ 446 h 547"/>
                <a:gd name="T44" fmla="*/ 331 w 406"/>
                <a:gd name="T45" fmla="*/ 501 h 547"/>
                <a:gd name="T46" fmla="*/ 274 w 406"/>
                <a:gd name="T47" fmla="*/ 535 h 547"/>
                <a:gd name="T48" fmla="*/ 204 w 406"/>
                <a:gd name="T49" fmla="*/ 547 h 547"/>
                <a:gd name="T50" fmla="*/ 134 w 406"/>
                <a:gd name="T51" fmla="*/ 535 h 547"/>
                <a:gd name="T52" fmla="*/ 77 w 406"/>
                <a:gd name="T53" fmla="*/ 500 h 547"/>
                <a:gd name="T54" fmla="*/ 35 w 406"/>
                <a:gd name="T55" fmla="*/ 443 h 547"/>
                <a:gd name="T56" fmla="*/ 8 w 406"/>
                <a:gd name="T57" fmla="*/ 367 h 547"/>
                <a:gd name="T58" fmla="*/ 0 w 406"/>
                <a:gd name="T59" fmla="*/ 274 h 547"/>
                <a:gd name="T60" fmla="*/ 8 w 406"/>
                <a:gd name="T61" fmla="*/ 180 h 547"/>
                <a:gd name="T62" fmla="*/ 35 w 406"/>
                <a:gd name="T63" fmla="*/ 105 h 547"/>
                <a:gd name="T64" fmla="*/ 77 w 406"/>
                <a:gd name="T65" fmla="*/ 47 h 547"/>
                <a:gd name="T66" fmla="*/ 135 w 406"/>
                <a:gd name="T67" fmla="*/ 12 h 547"/>
                <a:gd name="T68" fmla="*/ 205 w 406"/>
                <a:gd name="T69" fmla="*/ 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6" h="547">
                  <a:moveTo>
                    <a:pt x="204" y="133"/>
                  </a:moveTo>
                  <a:lnTo>
                    <a:pt x="190" y="136"/>
                  </a:lnTo>
                  <a:lnTo>
                    <a:pt x="178" y="145"/>
                  </a:lnTo>
                  <a:lnTo>
                    <a:pt x="167" y="161"/>
                  </a:lnTo>
                  <a:lnTo>
                    <a:pt x="159" y="181"/>
                  </a:lnTo>
                  <a:lnTo>
                    <a:pt x="154" y="207"/>
                  </a:lnTo>
                  <a:lnTo>
                    <a:pt x="151" y="239"/>
                  </a:lnTo>
                  <a:lnTo>
                    <a:pt x="150" y="274"/>
                  </a:lnTo>
                  <a:lnTo>
                    <a:pt x="151" y="310"/>
                  </a:lnTo>
                  <a:lnTo>
                    <a:pt x="154" y="341"/>
                  </a:lnTo>
                  <a:lnTo>
                    <a:pt x="159" y="367"/>
                  </a:lnTo>
                  <a:lnTo>
                    <a:pt x="167" y="388"/>
                  </a:lnTo>
                  <a:lnTo>
                    <a:pt x="178" y="403"/>
                  </a:lnTo>
                  <a:lnTo>
                    <a:pt x="190" y="413"/>
                  </a:lnTo>
                  <a:lnTo>
                    <a:pt x="204" y="415"/>
                  </a:lnTo>
                  <a:lnTo>
                    <a:pt x="217" y="413"/>
                  </a:lnTo>
                  <a:lnTo>
                    <a:pt x="228" y="403"/>
                  </a:lnTo>
                  <a:lnTo>
                    <a:pt x="238" y="387"/>
                  </a:lnTo>
                  <a:lnTo>
                    <a:pt x="246" y="367"/>
                  </a:lnTo>
                  <a:lnTo>
                    <a:pt x="251" y="341"/>
                  </a:lnTo>
                  <a:lnTo>
                    <a:pt x="255" y="310"/>
                  </a:lnTo>
                  <a:lnTo>
                    <a:pt x="257" y="274"/>
                  </a:lnTo>
                  <a:lnTo>
                    <a:pt x="255" y="239"/>
                  </a:lnTo>
                  <a:lnTo>
                    <a:pt x="251" y="208"/>
                  </a:lnTo>
                  <a:lnTo>
                    <a:pt x="246" y="183"/>
                  </a:lnTo>
                  <a:lnTo>
                    <a:pt x="238" y="161"/>
                  </a:lnTo>
                  <a:lnTo>
                    <a:pt x="228" y="146"/>
                  </a:lnTo>
                  <a:lnTo>
                    <a:pt x="217" y="137"/>
                  </a:lnTo>
                  <a:lnTo>
                    <a:pt x="204" y="133"/>
                  </a:lnTo>
                  <a:close/>
                  <a:moveTo>
                    <a:pt x="205" y="0"/>
                  </a:moveTo>
                  <a:lnTo>
                    <a:pt x="242" y="2"/>
                  </a:lnTo>
                  <a:lnTo>
                    <a:pt x="275" y="11"/>
                  </a:lnTo>
                  <a:lnTo>
                    <a:pt x="305" y="25"/>
                  </a:lnTo>
                  <a:lnTo>
                    <a:pt x="332" y="45"/>
                  </a:lnTo>
                  <a:lnTo>
                    <a:pt x="354" y="71"/>
                  </a:lnTo>
                  <a:lnTo>
                    <a:pt x="373" y="101"/>
                  </a:lnTo>
                  <a:lnTo>
                    <a:pt x="387" y="137"/>
                  </a:lnTo>
                  <a:lnTo>
                    <a:pt x="398" y="177"/>
                  </a:lnTo>
                  <a:lnTo>
                    <a:pt x="405" y="223"/>
                  </a:lnTo>
                  <a:lnTo>
                    <a:pt x="406" y="274"/>
                  </a:lnTo>
                  <a:lnTo>
                    <a:pt x="405" y="324"/>
                  </a:lnTo>
                  <a:lnTo>
                    <a:pt x="398" y="370"/>
                  </a:lnTo>
                  <a:lnTo>
                    <a:pt x="387" y="410"/>
                  </a:lnTo>
                  <a:lnTo>
                    <a:pt x="373" y="446"/>
                  </a:lnTo>
                  <a:lnTo>
                    <a:pt x="354" y="476"/>
                  </a:lnTo>
                  <a:lnTo>
                    <a:pt x="331" y="501"/>
                  </a:lnTo>
                  <a:lnTo>
                    <a:pt x="305" y="520"/>
                  </a:lnTo>
                  <a:lnTo>
                    <a:pt x="274" y="535"/>
                  </a:lnTo>
                  <a:lnTo>
                    <a:pt x="240" y="543"/>
                  </a:lnTo>
                  <a:lnTo>
                    <a:pt x="204" y="547"/>
                  </a:lnTo>
                  <a:lnTo>
                    <a:pt x="167" y="543"/>
                  </a:lnTo>
                  <a:lnTo>
                    <a:pt x="134" y="535"/>
                  </a:lnTo>
                  <a:lnTo>
                    <a:pt x="104" y="520"/>
                  </a:lnTo>
                  <a:lnTo>
                    <a:pt x="77" y="500"/>
                  </a:lnTo>
                  <a:lnTo>
                    <a:pt x="54" y="473"/>
                  </a:lnTo>
                  <a:lnTo>
                    <a:pt x="35" y="443"/>
                  </a:lnTo>
                  <a:lnTo>
                    <a:pt x="20" y="407"/>
                  </a:lnTo>
                  <a:lnTo>
                    <a:pt x="8" y="367"/>
                  </a:lnTo>
                  <a:lnTo>
                    <a:pt x="1" y="322"/>
                  </a:lnTo>
                  <a:lnTo>
                    <a:pt x="0" y="274"/>
                  </a:lnTo>
                  <a:lnTo>
                    <a:pt x="1" y="224"/>
                  </a:lnTo>
                  <a:lnTo>
                    <a:pt x="8" y="180"/>
                  </a:lnTo>
                  <a:lnTo>
                    <a:pt x="20" y="140"/>
                  </a:lnTo>
                  <a:lnTo>
                    <a:pt x="35" y="105"/>
                  </a:lnTo>
                  <a:lnTo>
                    <a:pt x="54" y="74"/>
                  </a:lnTo>
                  <a:lnTo>
                    <a:pt x="77" y="47"/>
                  </a:lnTo>
                  <a:lnTo>
                    <a:pt x="104" y="27"/>
                  </a:lnTo>
                  <a:lnTo>
                    <a:pt x="135" y="12"/>
                  </a:lnTo>
                  <a:lnTo>
                    <a:pt x="169" y="2"/>
                  </a:lnTo>
                  <a:lnTo>
                    <a:pt x="20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16" name="Rectangle 20"/>
            <p:cNvSpPr>
              <a:spLocks noChangeArrowheads="1"/>
            </p:cNvSpPr>
            <p:nvPr/>
          </p:nvSpPr>
          <p:spPr bwMode="auto">
            <a:xfrm>
              <a:off x="8767821" y="302688"/>
              <a:ext cx="26529" cy="9302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17" name="Freeform 21"/>
            <p:cNvSpPr>
              <a:spLocks/>
            </p:cNvSpPr>
            <p:nvPr/>
          </p:nvSpPr>
          <p:spPr bwMode="auto">
            <a:xfrm>
              <a:off x="8822647" y="300565"/>
              <a:ext cx="49874" cy="96565"/>
            </a:xfrm>
            <a:custGeom>
              <a:avLst/>
              <a:gdLst>
                <a:gd name="T0" fmla="*/ 206 w 282"/>
                <a:gd name="T1" fmla="*/ 0 h 546"/>
                <a:gd name="T2" fmla="*/ 222 w 282"/>
                <a:gd name="T3" fmla="*/ 0 h 546"/>
                <a:gd name="T4" fmla="*/ 237 w 282"/>
                <a:gd name="T5" fmla="*/ 1 h 546"/>
                <a:gd name="T6" fmla="*/ 249 w 282"/>
                <a:gd name="T7" fmla="*/ 4 h 546"/>
                <a:gd name="T8" fmla="*/ 264 w 282"/>
                <a:gd name="T9" fmla="*/ 8 h 546"/>
                <a:gd name="T10" fmla="*/ 282 w 282"/>
                <a:gd name="T11" fmla="*/ 15 h 546"/>
                <a:gd name="T12" fmla="*/ 282 w 282"/>
                <a:gd name="T13" fmla="*/ 144 h 546"/>
                <a:gd name="T14" fmla="*/ 268 w 282"/>
                <a:gd name="T15" fmla="*/ 133 h 546"/>
                <a:gd name="T16" fmla="*/ 255 w 282"/>
                <a:gd name="T17" fmla="*/ 129 h 546"/>
                <a:gd name="T18" fmla="*/ 238 w 282"/>
                <a:gd name="T19" fmla="*/ 127 h 546"/>
                <a:gd name="T20" fmla="*/ 217 w 282"/>
                <a:gd name="T21" fmla="*/ 130 h 546"/>
                <a:gd name="T22" fmla="*/ 197 w 282"/>
                <a:gd name="T23" fmla="*/ 140 h 546"/>
                <a:gd name="T24" fmla="*/ 180 w 282"/>
                <a:gd name="T25" fmla="*/ 154 h 546"/>
                <a:gd name="T26" fmla="*/ 167 w 282"/>
                <a:gd name="T27" fmla="*/ 176 h 546"/>
                <a:gd name="T28" fmla="*/ 157 w 282"/>
                <a:gd name="T29" fmla="*/ 201 h 546"/>
                <a:gd name="T30" fmla="*/ 152 w 282"/>
                <a:gd name="T31" fmla="*/ 232 h 546"/>
                <a:gd name="T32" fmla="*/ 149 w 282"/>
                <a:gd name="T33" fmla="*/ 269 h 546"/>
                <a:gd name="T34" fmla="*/ 152 w 282"/>
                <a:gd name="T35" fmla="*/ 305 h 546"/>
                <a:gd name="T36" fmla="*/ 157 w 282"/>
                <a:gd name="T37" fmla="*/ 336 h 546"/>
                <a:gd name="T38" fmla="*/ 166 w 282"/>
                <a:gd name="T39" fmla="*/ 363 h 546"/>
                <a:gd name="T40" fmla="*/ 178 w 282"/>
                <a:gd name="T41" fmla="*/ 383 h 546"/>
                <a:gd name="T42" fmla="*/ 194 w 282"/>
                <a:gd name="T43" fmla="*/ 398 h 546"/>
                <a:gd name="T44" fmla="*/ 211 w 282"/>
                <a:gd name="T45" fmla="*/ 406 h 546"/>
                <a:gd name="T46" fmla="*/ 234 w 282"/>
                <a:gd name="T47" fmla="*/ 410 h 546"/>
                <a:gd name="T48" fmla="*/ 247 w 282"/>
                <a:gd name="T49" fmla="*/ 409 h 546"/>
                <a:gd name="T50" fmla="*/ 259 w 282"/>
                <a:gd name="T51" fmla="*/ 407 h 546"/>
                <a:gd name="T52" fmla="*/ 270 w 282"/>
                <a:gd name="T53" fmla="*/ 402 h 546"/>
                <a:gd name="T54" fmla="*/ 282 w 282"/>
                <a:gd name="T55" fmla="*/ 395 h 546"/>
                <a:gd name="T56" fmla="*/ 282 w 282"/>
                <a:gd name="T57" fmla="*/ 530 h 546"/>
                <a:gd name="T58" fmla="*/ 261 w 282"/>
                <a:gd name="T59" fmla="*/ 536 h 546"/>
                <a:gd name="T60" fmla="*/ 245 w 282"/>
                <a:gd name="T61" fmla="*/ 542 h 546"/>
                <a:gd name="T62" fmla="*/ 229 w 282"/>
                <a:gd name="T63" fmla="*/ 544 h 546"/>
                <a:gd name="T64" fmla="*/ 214 w 282"/>
                <a:gd name="T65" fmla="*/ 546 h 546"/>
                <a:gd name="T66" fmla="*/ 195 w 282"/>
                <a:gd name="T67" fmla="*/ 546 h 546"/>
                <a:gd name="T68" fmla="*/ 157 w 282"/>
                <a:gd name="T69" fmla="*/ 543 h 546"/>
                <a:gd name="T70" fmla="*/ 124 w 282"/>
                <a:gd name="T71" fmla="*/ 531 h 546"/>
                <a:gd name="T72" fmla="*/ 93 w 282"/>
                <a:gd name="T73" fmla="*/ 513 h 546"/>
                <a:gd name="T74" fmla="*/ 66 w 282"/>
                <a:gd name="T75" fmla="*/ 488 h 546"/>
                <a:gd name="T76" fmla="*/ 43 w 282"/>
                <a:gd name="T77" fmla="*/ 457 h 546"/>
                <a:gd name="T78" fmla="*/ 24 w 282"/>
                <a:gd name="T79" fmla="*/ 421 h 546"/>
                <a:gd name="T80" fmla="*/ 10 w 282"/>
                <a:gd name="T81" fmla="*/ 379 h 546"/>
                <a:gd name="T82" fmla="*/ 2 w 282"/>
                <a:gd name="T83" fmla="*/ 331 h 546"/>
                <a:gd name="T84" fmla="*/ 0 w 282"/>
                <a:gd name="T85" fmla="*/ 279 h 546"/>
                <a:gd name="T86" fmla="*/ 2 w 282"/>
                <a:gd name="T87" fmla="*/ 230 h 546"/>
                <a:gd name="T88" fmla="*/ 9 w 282"/>
                <a:gd name="T89" fmla="*/ 184 h 546"/>
                <a:gd name="T90" fmla="*/ 20 w 282"/>
                <a:gd name="T91" fmla="*/ 142 h 546"/>
                <a:gd name="T92" fmla="*/ 36 w 282"/>
                <a:gd name="T93" fmla="*/ 106 h 546"/>
                <a:gd name="T94" fmla="*/ 55 w 282"/>
                <a:gd name="T95" fmla="*/ 74 h 546"/>
                <a:gd name="T96" fmla="*/ 78 w 282"/>
                <a:gd name="T97" fmla="*/ 48 h 546"/>
                <a:gd name="T98" fmla="*/ 105 w 282"/>
                <a:gd name="T99" fmla="*/ 27 h 546"/>
                <a:gd name="T100" fmla="*/ 136 w 282"/>
                <a:gd name="T101" fmla="*/ 12 h 546"/>
                <a:gd name="T102" fmla="*/ 170 w 282"/>
                <a:gd name="T103" fmla="*/ 2 h 546"/>
                <a:gd name="T104" fmla="*/ 206 w 282"/>
                <a:gd name="T10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2" h="546">
                  <a:moveTo>
                    <a:pt x="206" y="0"/>
                  </a:moveTo>
                  <a:lnTo>
                    <a:pt x="222" y="0"/>
                  </a:lnTo>
                  <a:lnTo>
                    <a:pt x="237" y="1"/>
                  </a:lnTo>
                  <a:lnTo>
                    <a:pt x="249" y="4"/>
                  </a:lnTo>
                  <a:lnTo>
                    <a:pt x="264" y="8"/>
                  </a:lnTo>
                  <a:lnTo>
                    <a:pt x="282" y="15"/>
                  </a:lnTo>
                  <a:lnTo>
                    <a:pt x="282" y="144"/>
                  </a:lnTo>
                  <a:lnTo>
                    <a:pt x="268" y="133"/>
                  </a:lnTo>
                  <a:lnTo>
                    <a:pt x="255" y="129"/>
                  </a:lnTo>
                  <a:lnTo>
                    <a:pt x="238" y="127"/>
                  </a:lnTo>
                  <a:lnTo>
                    <a:pt x="217" y="130"/>
                  </a:lnTo>
                  <a:lnTo>
                    <a:pt x="197" y="140"/>
                  </a:lnTo>
                  <a:lnTo>
                    <a:pt x="180" y="154"/>
                  </a:lnTo>
                  <a:lnTo>
                    <a:pt x="167" y="176"/>
                  </a:lnTo>
                  <a:lnTo>
                    <a:pt x="157" y="201"/>
                  </a:lnTo>
                  <a:lnTo>
                    <a:pt x="152" y="232"/>
                  </a:lnTo>
                  <a:lnTo>
                    <a:pt x="149" y="269"/>
                  </a:lnTo>
                  <a:lnTo>
                    <a:pt x="152" y="305"/>
                  </a:lnTo>
                  <a:lnTo>
                    <a:pt x="157" y="336"/>
                  </a:lnTo>
                  <a:lnTo>
                    <a:pt x="166" y="363"/>
                  </a:lnTo>
                  <a:lnTo>
                    <a:pt x="178" y="383"/>
                  </a:lnTo>
                  <a:lnTo>
                    <a:pt x="194" y="398"/>
                  </a:lnTo>
                  <a:lnTo>
                    <a:pt x="211" y="406"/>
                  </a:lnTo>
                  <a:lnTo>
                    <a:pt x="234" y="410"/>
                  </a:lnTo>
                  <a:lnTo>
                    <a:pt x="247" y="409"/>
                  </a:lnTo>
                  <a:lnTo>
                    <a:pt x="259" y="407"/>
                  </a:lnTo>
                  <a:lnTo>
                    <a:pt x="270" y="402"/>
                  </a:lnTo>
                  <a:lnTo>
                    <a:pt x="282" y="395"/>
                  </a:lnTo>
                  <a:lnTo>
                    <a:pt x="282" y="530"/>
                  </a:lnTo>
                  <a:lnTo>
                    <a:pt x="261" y="536"/>
                  </a:lnTo>
                  <a:lnTo>
                    <a:pt x="245" y="542"/>
                  </a:lnTo>
                  <a:lnTo>
                    <a:pt x="229" y="544"/>
                  </a:lnTo>
                  <a:lnTo>
                    <a:pt x="214" y="546"/>
                  </a:lnTo>
                  <a:lnTo>
                    <a:pt x="195" y="546"/>
                  </a:lnTo>
                  <a:lnTo>
                    <a:pt x="157" y="543"/>
                  </a:lnTo>
                  <a:lnTo>
                    <a:pt x="124" y="531"/>
                  </a:lnTo>
                  <a:lnTo>
                    <a:pt x="93" y="513"/>
                  </a:lnTo>
                  <a:lnTo>
                    <a:pt x="66" y="488"/>
                  </a:lnTo>
                  <a:lnTo>
                    <a:pt x="43" y="457"/>
                  </a:lnTo>
                  <a:lnTo>
                    <a:pt x="24" y="421"/>
                  </a:lnTo>
                  <a:lnTo>
                    <a:pt x="10" y="379"/>
                  </a:lnTo>
                  <a:lnTo>
                    <a:pt x="2" y="331"/>
                  </a:lnTo>
                  <a:lnTo>
                    <a:pt x="0" y="279"/>
                  </a:lnTo>
                  <a:lnTo>
                    <a:pt x="2" y="230"/>
                  </a:lnTo>
                  <a:lnTo>
                    <a:pt x="9" y="184"/>
                  </a:lnTo>
                  <a:lnTo>
                    <a:pt x="20" y="142"/>
                  </a:lnTo>
                  <a:lnTo>
                    <a:pt x="36" y="106"/>
                  </a:lnTo>
                  <a:lnTo>
                    <a:pt x="55" y="74"/>
                  </a:lnTo>
                  <a:lnTo>
                    <a:pt x="78" y="48"/>
                  </a:lnTo>
                  <a:lnTo>
                    <a:pt x="105" y="27"/>
                  </a:lnTo>
                  <a:lnTo>
                    <a:pt x="136" y="12"/>
                  </a:lnTo>
                  <a:lnTo>
                    <a:pt x="170" y="2"/>
                  </a:lnTo>
                  <a:lnTo>
                    <a:pt x="20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sp>
          <p:nvSpPr>
            <p:cNvPr id="18" name="Freeform 22"/>
            <p:cNvSpPr>
              <a:spLocks noEditPoints="1"/>
            </p:cNvSpPr>
            <p:nvPr/>
          </p:nvSpPr>
          <p:spPr bwMode="auto">
            <a:xfrm>
              <a:off x="8896220" y="300565"/>
              <a:ext cx="68268" cy="96919"/>
            </a:xfrm>
            <a:custGeom>
              <a:avLst/>
              <a:gdLst>
                <a:gd name="T0" fmla="*/ 184 w 384"/>
                <a:gd name="T1" fmla="*/ 115 h 547"/>
                <a:gd name="T2" fmla="*/ 160 w 384"/>
                <a:gd name="T3" fmla="*/ 138 h 547"/>
                <a:gd name="T4" fmla="*/ 147 w 384"/>
                <a:gd name="T5" fmla="*/ 180 h 547"/>
                <a:gd name="T6" fmla="*/ 145 w 384"/>
                <a:gd name="T7" fmla="*/ 211 h 547"/>
                <a:gd name="T8" fmla="*/ 145 w 384"/>
                <a:gd name="T9" fmla="*/ 218 h 547"/>
                <a:gd name="T10" fmla="*/ 255 w 384"/>
                <a:gd name="T11" fmla="*/ 223 h 547"/>
                <a:gd name="T12" fmla="*/ 252 w 384"/>
                <a:gd name="T13" fmla="*/ 180 h 547"/>
                <a:gd name="T14" fmla="*/ 240 w 384"/>
                <a:gd name="T15" fmla="*/ 138 h 547"/>
                <a:gd name="T16" fmla="*/ 216 w 384"/>
                <a:gd name="T17" fmla="*/ 115 h 547"/>
                <a:gd name="T18" fmla="*/ 199 w 384"/>
                <a:gd name="T19" fmla="*/ 0 h 547"/>
                <a:gd name="T20" fmla="*/ 269 w 384"/>
                <a:gd name="T21" fmla="*/ 13 h 547"/>
                <a:gd name="T22" fmla="*/ 323 w 384"/>
                <a:gd name="T23" fmla="*/ 52 h 547"/>
                <a:gd name="T24" fmla="*/ 361 w 384"/>
                <a:gd name="T25" fmla="*/ 115 h 547"/>
                <a:gd name="T26" fmla="*/ 382 w 384"/>
                <a:gd name="T27" fmla="*/ 201 h 547"/>
                <a:gd name="T28" fmla="*/ 384 w 384"/>
                <a:gd name="T29" fmla="*/ 266 h 547"/>
                <a:gd name="T30" fmla="*/ 383 w 384"/>
                <a:gd name="T31" fmla="*/ 293 h 547"/>
                <a:gd name="T32" fmla="*/ 144 w 384"/>
                <a:gd name="T33" fmla="*/ 313 h 547"/>
                <a:gd name="T34" fmla="*/ 148 w 384"/>
                <a:gd name="T35" fmla="*/ 378 h 547"/>
                <a:gd name="T36" fmla="*/ 162 w 384"/>
                <a:gd name="T37" fmla="*/ 418 h 547"/>
                <a:gd name="T38" fmla="*/ 186 w 384"/>
                <a:gd name="T39" fmla="*/ 435 h 547"/>
                <a:gd name="T40" fmla="*/ 218 w 384"/>
                <a:gd name="T41" fmla="*/ 435 h 547"/>
                <a:gd name="T42" fmla="*/ 240 w 384"/>
                <a:gd name="T43" fmla="*/ 417 h 547"/>
                <a:gd name="T44" fmla="*/ 248 w 384"/>
                <a:gd name="T45" fmla="*/ 375 h 547"/>
                <a:gd name="T46" fmla="*/ 369 w 384"/>
                <a:gd name="T47" fmla="*/ 399 h 547"/>
                <a:gd name="T48" fmla="*/ 363 w 384"/>
                <a:gd name="T49" fmla="*/ 431 h 547"/>
                <a:gd name="T50" fmla="*/ 353 w 384"/>
                <a:gd name="T51" fmla="*/ 456 h 547"/>
                <a:gd name="T52" fmla="*/ 333 w 384"/>
                <a:gd name="T53" fmla="*/ 492 h 547"/>
                <a:gd name="T54" fmla="*/ 290 w 384"/>
                <a:gd name="T55" fmla="*/ 525 h 547"/>
                <a:gd name="T56" fmla="*/ 234 w 384"/>
                <a:gd name="T57" fmla="*/ 544 h 547"/>
                <a:gd name="T58" fmla="*/ 167 w 384"/>
                <a:gd name="T59" fmla="*/ 543 h 547"/>
                <a:gd name="T60" fmla="*/ 104 w 384"/>
                <a:gd name="T61" fmla="*/ 521 h 547"/>
                <a:gd name="T62" fmla="*/ 54 w 384"/>
                <a:gd name="T63" fmla="*/ 477 h 547"/>
                <a:gd name="T64" fmla="*/ 20 w 384"/>
                <a:gd name="T65" fmla="*/ 414 h 547"/>
                <a:gd name="T66" fmla="*/ 2 w 384"/>
                <a:gd name="T67" fmla="*/ 333 h 547"/>
                <a:gd name="T68" fmla="*/ 2 w 384"/>
                <a:gd name="T69" fmla="*/ 235 h 547"/>
                <a:gd name="T70" fmla="*/ 20 w 384"/>
                <a:gd name="T71" fmla="*/ 146 h 547"/>
                <a:gd name="T72" fmla="*/ 54 w 384"/>
                <a:gd name="T73" fmla="*/ 76 h 547"/>
                <a:gd name="T74" fmla="*/ 102 w 384"/>
                <a:gd name="T75" fmla="*/ 28 h 547"/>
                <a:gd name="T76" fmla="*/ 164 w 384"/>
                <a:gd name="T77" fmla="*/ 2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4" h="547">
                  <a:moveTo>
                    <a:pt x="201" y="113"/>
                  </a:moveTo>
                  <a:lnTo>
                    <a:pt x="184" y="115"/>
                  </a:lnTo>
                  <a:lnTo>
                    <a:pt x="171" y="125"/>
                  </a:lnTo>
                  <a:lnTo>
                    <a:pt x="160" y="138"/>
                  </a:lnTo>
                  <a:lnTo>
                    <a:pt x="152" y="157"/>
                  </a:lnTo>
                  <a:lnTo>
                    <a:pt x="147" y="180"/>
                  </a:lnTo>
                  <a:lnTo>
                    <a:pt x="145" y="207"/>
                  </a:lnTo>
                  <a:lnTo>
                    <a:pt x="145" y="211"/>
                  </a:lnTo>
                  <a:lnTo>
                    <a:pt x="145" y="214"/>
                  </a:lnTo>
                  <a:lnTo>
                    <a:pt x="145" y="218"/>
                  </a:lnTo>
                  <a:lnTo>
                    <a:pt x="147" y="223"/>
                  </a:lnTo>
                  <a:lnTo>
                    <a:pt x="255" y="223"/>
                  </a:lnTo>
                  <a:lnTo>
                    <a:pt x="255" y="207"/>
                  </a:lnTo>
                  <a:lnTo>
                    <a:pt x="252" y="180"/>
                  </a:lnTo>
                  <a:lnTo>
                    <a:pt x="248" y="157"/>
                  </a:lnTo>
                  <a:lnTo>
                    <a:pt x="240" y="138"/>
                  </a:lnTo>
                  <a:lnTo>
                    <a:pt x="229" y="125"/>
                  </a:lnTo>
                  <a:lnTo>
                    <a:pt x="216" y="115"/>
                  </a:lnTo>
                  <a:lnTo>
                    <a:pt x="201" y="113"/>
                  </a:lnTo>
                  <a:close/>
                  <a:moveTo>
                    <a:pt x="199" y="0"/>
                  </a:moveTo>
                  <a:lnTo>
                    <a:pt x="236" y="2"/>
                  </a:lnTo>
                  <a:lnTo>
                    <a:pt x="269" y="13"/>
                  </a:lnTo>
                  <a:lnTo>
                    <a:pt x="299" y="29"/>
                  </a:lnTo>
                  <a:lnTo>
                    <a:pt x="323" y="52"/>
                  </a:lnTo>
                  <a:lnTo>
                    <a:pt x="345" y="82"/>
                  </a:lnTo>
                  <a:lnTo>
                    <a:pt x="361" y="115"/>
                  </a:lnTo>
                  <a:lnTo>
                    <a:pt x="373" y="156"/>
                  </a:lnTo>
                  <a:lnTo>
                    <a:pt x="382" y="201"/>
                  </a:lnTo>
                  <a:lnTo>
                    <a:pt x="384" y="253"/>
                  </a:lnTo>
                  <a:lnTo>
                    <a:pt x="384" y="266"/>
                  </a:lnTo>
                  <a:lnTo>
                    <a:pt x="383" y="278"/>
                  </a:lnTo>
                  <a:lnTo>
                    <a:pt x="383" y="293"/>
                  </a:lnTo>
                  <a:lnTo>
                    <a:pt x="380" y="313"/>
                  </a:lnTo>
                  <a:lnTo>
                    <a:pt x="144" y="313"/>
                  </a:lnTo>
                  <a:lnTo>
                    <a:pt x="145" y="349"/>
                  </a:lnTo>
                  <a:lnTo>
                    <a:pt x="148" y="378"/>
                  </a:lnTo>
                  <a:lnTo>
                    <a:pt x="155" y="400"/>
                  </a:lnTo>
                  <a:lnTo>
                    <a:pt x="162" y="418"/>
                  </a:lnTo>
                  <a:lnTo>
                    <a:pt x="172" y="429"/>
                  </a:lnTo>
                  <a:lnTo>
                    <a:pt x="186" y="435"/>
                  </a:lnTo>
                  <a:lnTo>
                    <a:pt x="202" y="438"/>
                  </a:lnTo>
                  <a:lnTo>
                    <a:pt x="218" y="435"/>
                  </a:lnTo>
                  <a:lnTo>
                    <a:pt x="230" y="429"/>
                  </a:lnTo>
                  <a:lnTo>
                    <a:pt x="240" y="417"/>
                  </a:lnTo>
                  <a:lnTo>
                    <a:pt x="245" y="398"/>
                  </a:lnTo>
                  <a:lnTo>
                    <a:pt x="248" y="375"/>
                  </a:lnTo>
                  <a:lnTo>
                    <a:pt x="375" y="375"/>
                  </a:lnTo>
                  <a:lnTo>
                    <a:pt x="369" y="399"/>
                  </a:lnTo>
                  <a:lnTo>
                    <a:pt x="367" y="417"/>
                  </a:lnTo>
                  <a:lnTo>
                    <a:pt x="363" y="431"/>
                  </a:lnTo>
                  <a:lnTo>
                    <a:pt x="359" y="443"/>
                  </a:lnTo>
                  <a:lnTo>
                    <a:pt x="353" y="456"/>
                  </a:lnTo>
                  <a:lnTo>
                    <a:pt x="348" y="468"/>
                  </a:lnTo>
                  <a:lnTo>
                    <a:pt x="333" y="492"/>
                  </a:lnTo>
                  <a:lnTo>
                    <a:pt x="313" y="511"/>
                  </a:lnTo>
                  <a:lnTo>
                    <a:pt x="290" y="525"/>
                  </a:lnTo>
                  <a:lnTo>
                    <a:pt x="264" y="538"/>
                  </a:lnTo>
                  <a:lnTo>
                    <a:pt x="234" y="544"/>
                  </a:lnTo>
                  <a:lnTo>
                    <a:pt x="202" y="547"/>
                  </a:lnTo>
                  <a:lnTo>
                    <a:pt x="167" y="543"/>
                  </a:lnTo>
                  <a:lnTo>
                    <a:pt x="133" y="535"/>
                  </a:lnTo>
                  <a:lnTo>
                    <a:pt x="104" y="521"/>
                  </a:lnTo>
                  <a:lnTo>
                    <a:pt x="77" y="501"/>
                  </a:lnTo>
                  <a:lnTo>
                    <a:pt x="54" y="477"/>
                  </a:lnTo>
                  <a:lnTo>
                    <a:pt x="35" y="448"/>
                  </a:lnTo>
                  <a:lnTo>
                    <a:pt x="20" y="414"/>
                  </a:lnTo>
                  <a:lnTo>
                    <a:pt x="9" y="376"/>
                  </a:lnTo>
                  <a:lnTo>
                    <a:pt x="2" y="333"/>
                  </a:lnTo>
                  <a:lnTo>
                    <a:pt x="0" y="286"/>
                  </a:lnTo>
                  <a:lnTo>
                    <a:pt x="2" y="235"/>
                  </a:lnTo>
                  <a:lnTo>
                    <a:pt x="9" y="189"/>
                  </a:lnTo>
                  <a:lnTo>
                    <a:pt x="20" y="146"/>
                  </a:lnTo>
                  <a:lnTo>
                    <a:pt x="35" y="110"/>
                  </a:lnTo>
                  <a:lnTo>
                    <a:pt x="54" y="76"/>
                  </a:lnTo>
                  <a:lnTo>
                    <a:pt x="77" y="50"/>
                  </a:lnTo>
                  <a:lnTo>
                    <a:pt x="102" y="28"/>
                  </a:lnTo>
                  <a:lnTo>
                    <a:pt x="132" y="12"/>
                  </a:lnTo>
                  <a:lnTo>
                    <a:pt x="164" y="2"/>
                  </a:lnTo>
                  <a:lnTo>
                    <a:pt x="1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CA" sz="1350" dirty="0">
                <a:solidFill>
                  <a:prstClr val="black"/>
                </a:solidFill>
              </a:endParaRPr>
            </a:p>
          </p:txBody>
        </p:sp>
      </p:grpSp>
    </p:spTree>
    <p:extLst>
      <p:ext uri="{BB962C8B-B14F-4D97-AF65-F5344CB8AC3E}">
        <p14:creationId xmlns:p14="http://schemas.microsoft.com/office/powerpoint/2010/main" val="1480150882"/>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5"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7922161"/>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Lst>
  <p:txStyles>
    <p:titleStyle>
      <a:lvl1pPr algn="ctr" defTabSz="457200" rtl="0" eaLnBrk="1" latinLnBrk="0" hangingPunct="1">
        <a:spcBef>
          <a:spcPct val="0"/>
        </a:spcBef>
        <a:buNone/>
        <a:defRPr sz="4400" kern="1200">
          <a:solidFill>
            <a:schemeClr val="tx1"/>
          </a:solidFill>
          <a:latin typeface="Helvetica"/>
          <a:ea typeface="+mj-ea"/>
          <a:cs typeface="Helvetica"/>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28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24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20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20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5"/>
            <a:ext cx="8741880" cy="674749"/>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3" y="891883"/>
            <a:ext cx="8740141" cy="158780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rot="5400000">
            <a:off x="6927308" y="2264574"/>
            <a:ext cx="5177838" cy="568342"/>
          </a:xfrm>
          <a:prstGeom prst="rect">
            <a:avLst/>
          </a:prstGeom>
        </p:spPr>
      </p:pic>
    </p:spTree>
    <p:extLst>
      <p:ext uri="{BB962C8B-B14F-4D97-AF65-F5344CB8AC3E}">
        <p14:creationId xmlns:p14="http://schemas.microsoft.com/office/powerpoint/2010/main" val="1022535388"/>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Lst>
  <p:transition>
    <p:fade/>
  </p:transition>
  <p:txStyles>
    <p:titleStyle>
      <a:lvl1pPr algn="l" defTabSz="685512" rtl="0" eaLnBrk="1" latinLnBrk="0" hangingPunct="1">
        <a:lnSpc>
          <a:spcPct val="90000"/>
        </a:lnSpc>
        <a:spcBef>
          <a:spcPct val="0"/>
        </a:spcBef>
        <a:buNone/>
        <a:defRPr lang="en-US" sz="3000" b="0" kern="1200" cap="none" spc="-75"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252011" marR="0" indent="-252011" algn="l" defTabSz="685512" rtl="0" eaLnBrk="1" fontAlgn="auto" latinLnBrk="0" hangingPunct="1">
        <a:lnSpc>
          <a:spcPct val="90000"/>
        </a:lnSpc>
        <a:spcBef>
          <a:spcPct val="20000"/>
        </a:spcBef>
        <a:spcAft>
          <a:spcPts val="0"/>
        </a:spcAft>
        <a:buClrTx/>
        <a:buSzPct val="90000"/>
        <a:buFont typeface="Arial" pitchFamily="34" charset="0"/>
        <a:buChar char="•"/>
        <a:tabLst/>
        <a:defRPr sz="2939" kern="1200" spc="0" baseline="0">
          <a:gradFill>
            <a:gsLst>
              <a:gs pos="1250">
                <a:schemeClr val="tx1"/>
              </a:gs>
              <a:gs pos="100000">
                <a:schemeClr val="tx1"/>
              </a:gs>
            </a:gsLst>
            <a:lin ang="5400000" scaled="0"/>
          </a:gradFill>
          <a:latin typeface="+mj-lt"/>
          <a:ea typeface="+mn-ea"/>
          <a:cs typeface="+mn-cs"/>
        </a:defRPr>
      </a:lvl1pPr>
      <a:lvl2pPr marL="429353" marR="0" indent="-177341" algn="l" defTabSz="68551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027" marR="0" indent="-168008" algn="l" defTabSz="68551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035" marR="0" indent="-168008" algn="l" defTabSz="685512"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044" marR="0" indent="-168008" algn="l" defTabSz="685512"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157" indent="-171378" algn="l" defTabSz="685512"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7914" indent="-171378" algn="l" defTabSz="685512"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0671" indent="-171378" algn="l" defTabSz="685512"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427" indent="-171378" algn="l" defTabSz="685512"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512" rtl="0" eaLnBrk="1" latinLnBrk="0" hangingPunct="1">
        <a:defRPr sz="1324" kern="1200">
          <a:solidFill>
            <a:schemeClr val="tx1"/>
          </a:solidFill>
          <a:latin typeface="+mn-lt"/>
          <a:ea typeface="+mn-ea"/>
          <a:cs typeface="+mn-cs"/>
        </a:defRPr>
      </a:lvl1pPr>
      <a:lvl2pPr marL="342755" algn="l" defTabSz="685512" rtl="0" eaLnBrk="1" latinLnBrk="0" hangingPunct="1">
        <a:defRPr sz="1324" kern="1200">
          <a:solidFill>
            <a:schemeClr val="tx1"/>
          </a:solidFill>
          <a:latin typeface="+mn-lt"/>
          <a:ea typeface="+mn-ea"/>
          <a:cs typeface="+mn-cs"/>
        </a:defRPr>
      </a:lvl2pPr>
      <a:lvl3pPr marL="685512" algn="l" defTabSz="685512" rtl="0" eaLnBrk="1" latinLnBrk="0" hangingPunct="1">
        <a:defRPr sz="1324" kern="1200">
          <a:solidFill>
            <a:schemeClr val="tx1"/>
          </a:solidFill>
          <a:latin typeface="+mn-lt"/>
          <a:ea typeface="+mn-ea"/>
          <a:cs typeface="+mn-cs"/>
        </a:defRPr>
      </a:lvl3pPr>
      <a:lvl4pPr marL="1028268" algn="l" defTabSz="685512" rtl="0" eaLnBrk="1" latinLnBrk="0" hangingPunct="1">
        <a:defRPr sz="1324" kern="1200">
          <a:solidFill>
            <a:schemeClr val="tx1"/>
          </a:solidFill>
          <a:latin typeface="+mn-lt"/>
          <a:ea typeface="+mn-ea"/>
          <a:cs typeface="+mn-cs"/>
        </a:defRPr>
      </a:lvl4pPr>
      <a:lvl5pPr marL="1371024" algn="l" defTabSz="685512" rtl="0" eaLnBrk="1" latinLnBrk="0" hangingPunct="1">
        <a:defRPr sz="1324" kern="1200">
          <a:solidFill>
            <a:schemeClr val="tx1"/>
          </a:solidFill>
          <a:latin typeface="+mn-lt"/>
          <a:ea typeface="+mn-ea"/>
          <a:cs typeface="+mn-cs"/>
        </a:defRPr>
      </a:lvl5pPr>
      <a:lvl6pPr marL="1713780" algn="l" defTabSz="685512" rtl="0" eaLnBrk="1" latinLnBrk="0" hangingPunct="1">
        <a:defRPr sz="1324" kern="1200">
          <a:solidFill>
            <a:schemeClr val="tx1"/>
          </a:solidFill>
          <a:latin typeface="+mn-lt"/>
          <a:ea typeface="+mn-ea"/>
          <a:cs typeface="+mn-cs"/>
        </a:defRPr>
      </a:lvl6pPr>
      <a:lvl7pPr marL="2056536" algn="l" defTabSz="685512" rtl="0" eaLnBrk="1" latinLnBrk="0" hangingPunct="1">
        <a:defRPr sz="1324" kern="1200">
          <a:solidFill>
            <a:schemeClr val="tx1"/>
          </a:solidFill>
          <a:latin typeface="+mn-lt"/>
          <a:ea typeface="+mn-ea"/>
          <a:cs typeface="+mn-cs"/>
        </a:defRPr>
      </a:lvl7pPr>
      <a:lvl8pPr marL="2399291" algn="l" defTabSz="685512" rtl="0" eaLnBrk="1" latinLnBrk="0" hangingPunct="1">
        <a:defRPr sz="1324" kern="1200">
          <a:solidFill>
            <a:schemeClr val="tx1"/>
          </a:solidFill>
          <a:latin typeface="+mn-lt"/>
          <a:ea typeface="+mn-ea"/>
          <a:cs typeface="+mn-cs"/>
        </a:defRPr>
      </a:lvl8pPr>
      <a:lvl9pPr marL="2742049" algn="l" defTabSz="685512"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7679570-464C-4109-8ED7-7EDE7DAB7DC2}" type="datetimeFigureOut">
              <a:rPr lang="en-US" smtClean="0"/>
              <a:t>10/7/2019</a:t>
            </a:fld>
            <a:endParaRPr lang="en-US" dirty="0"/>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709F891C-C92A-4143-91D6-621FB9CE795D}" type="slidenum">
              <a:rPr lang="en-US" smtClean="0"/>
              <a:t>‹#›</a:t>
            </a:fld>
            <a:endParaRPr lang="en-US" dirty="0"/>
          </a:p>
        </p:txBody>
      </p:sp>
    </p:spTree>
    <p:extLst>
      <p:ext uri="{BB962C8B-B14F-4D97-AF65-F5344CB8AC3E}">
        <p14:creationId xmlns:p14="http://schemas.microsoft.com/office/powerpoint/2010/main" val="535016859"/>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Lst>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1" y="891884"/>
            <a:ext cx="8740141" cy="174644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6890310" y="2259293"/>
            <a:ext cx="5143967" cy="624914"/>
          </a:xfrm>
          <a:prstGeom prst="rect">
            <a:avLst/>
          </a:prstGeom>
        </p:spPr>
      </p:pic>
    </p:spTree>
    <p:extLst>
      <p:ext uri="{BB962C8B-B14F-4D97-AF65-F5344CB8AC3E}">
        <p14:creationId xmlns:p14="http://schemas.microsoft.com/office/powerpoint/2010/main" val="59409395"/>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Lst>
  <p:transition>
    <p:fade/>
  </p:transition>
  <p:txStyles>
    <p:titleStyle>
      <a:lvl1pPr algn="l" defTabSz="685775"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68073"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647" kern="1200" spc="0" baseline="0">
          <a:gradFill>
            <a:gsLst>
              <a:gs pos="1250">
                <a:schemeClr val="tx1"/>
              </a:gs>
              <a:gs pos="100000">
                <a:schemeClr val="tx1"/>
              </a:gs>
            </a:gsLst>
            <a:lin ang="5400000" scaled="0"/>
          </a:gradFill>
          <a:latin typeface="+mj-lt"/>
          <a:ea typeface="+mn-ea"/>
          <a:cs typeface="+mn-cs"/>
        </a:defRPr>
      </a:lvl1pPr>
      <a:lvl2pPr marL="336145"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04218"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3pPr>
      <a:lvl4pPr marL="672290"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4pPr>
      <a:lvl5pPr marL="840362" marR="0" indent="-168073" algn="l" defTabSz="68577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18" kern="1200" spc="0" baseline="0">
          <a:gradFill>
            <a:gsLst>
              <a:gs pos="1250">
                <a:schemeClr val="tx1"/>
              </a:gs>
              <a:gs pos="100000">
                <a:schemeClr val="tx1"/>
              </a:gs>
            </a:gsLst>
            <a:lin ang="5400000" scaled="0"/>
          </a:gradFill>
          <a:latin typeface="+mn-lt"/>
          <a:ea typeface="+mn-ea"/>
          <a:cs typeface="+mn-cs"/>
        </a:defRPr>
      </a:lvl5pPr>
      <a:lvl6pPr marL="1885882"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770"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658"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546" indent="-171444" algn="l" defTabSz="68577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75" rtl="0" eaLnBrk="1" latinLnBrk="0" hangingPunct="1">
        <a:defRPr sz="1324" kern="1200">
          <a:solidFill>
            <a:schemeClr val="tx1"/>
          </a:solidFill>
          <a:latin typeface="+mn-lt"/>
          <a:ea typeface="+mn-ea"/>
          <a:cs typeface="+mn-cs"/>
        </a:defRPr>
      </a:lvl1pPr>
      <a:lvl2pPr marL="342887" algn="l" defTabSz="685775" rtl="0" eaLnBrk="1" latinLnBrk="0" hangingPunct="1">
        <a:defRPr sz="1324" kern="1200">
          <a:solidFill>
            <a:schemeClr val="tx1"/>
          </a:solidFill>
          <a:latin typeface="+mn-lt"/>
          <a:ea typeface="+mn-ea"/>
          <a:cs typeface="+mn-cs"/>
        </a:defRPr>
      </a:lvl2pPr>
      <a:lvl3pPr marL="685775" algn="l" defTabSz="685775" rtl="0" eaLnBrk="1" latinLnBrk="0" hangingPunct="1">
        <a:defRPr sz="1324" kern="1200">
          <a:solidFill>
            <a:schemeClr val="tx1"/>
          </a:solidFill>
          <a:latin typeface="+mn-lt"/>
          <a:ea typeface="+mn-ea"/>
          <a:cs typeface="+mn-cs"/>
        </a:defRPr>
      </a:lvl3pPr>
      <a:lvl4pPr marL="1028663" algn="l" defTabSz="685775" rtl="0" eaLnBrk="1" latinLnBrk="0" hangingPunct="1">
        <a:defRPr sz="1324" kern="1200">
          <a:solidFill>
            <a:schemeClr val="tx1"/>
          </a:solidFill>
          <a:latin typeface="+mn-lt"/>
          <a:ea typeface="+mn-ea"/>
          <a:cs typeface="+mn-cs"/>
        </a:defRPr>
      </a:lvl4pPr>
      <a:lvl5pPr marL="1371551" algn="l" defTabSz="685775" rtl="0" eaLnBrk="1" latinLnBrk="0" hangingPunct="1">
        <a:defRPr sz="1324" kern="1200">
          <a:solidFill>
            <a:schemeClr val="tx1"/>
          </a:solidFill>
          <a:latin typeface="+mn-lt"/>
          <a:ea typeface="+mn-ea"/>
          <a:cs typeface="+mn-cs"/>
        </a:defRPr>
      </a:lvl5pPr>
      <a:lvl6pPr marL="1714439" algn="l" defTabSz="685775" rtl="0" eaLnBrk="1" latinLnBrk="0" hangingPunct="1">
        <a:defRPr sz="1324" kern="1200">
          <a:solidFill>
            <a:schemeClr val="tx1"/>
          </a:solidFill>
          <a:latin typeface="+mn-lt"/>
          <a:ea typeface="+mn-ea"/>
          <a:cs typeface="+mn-cs"/>
        </a:defRPr>
      </a:lvl6pPr>
      <a:lvl7pPr marL="2057326" algn="l" defTabSz="685775" rtl="0" eaLnBrk="1" latinLnBrk="0" hangingPunct="1">
        <a:defRPr sz="1324" kern="1200">
          <a:solidFill>
            <a:schemeClr val="tx1"/>
          </a:solidFill>
          <a:latin typeface="+mn-lt"/>
          <a:ea typeface="+mn-ea"/>
          <a:cs typeface="+mn-cs"/>
        </a:defRPr>
      </a:lvl7pPr>
      <a:lvl8pPr marL="2400213" algn="l" defTabSz="685775" rtl="0" eaLnBrk="1" latinLnBrk="0" hangingPunct="1">
        <a:defRPr sz="1324" kern="1200">
          <a:solidFill>
            <a:schemeClr val="tx1"/>
          </a:solidFill>
          <a:latin typeface="+mn-lt"/>
          <a:ea typeface="+mn-ea"/>
          <a:cs typeface="+mn-cs"/>
        </a:defRPr>
      </a:lvl8pPr>
      <a:lvl9pPr marL="2743102" algn="l" defTabSz="685775"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5.xml"/><Relationship Id="rId1" Type="http://schemas.openxmlformats.org/officeDocument/2006/relationships/tags" Target="../tags/tag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5.xml"/><Relationship Id="rId1" Type="http://schemas.openxmlformats.org/officeDocument/2006/relationships/tags" Target="../tags/tag3.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5.xml"/><Relationship Id="rId1" Type="http://schemas.openxmlformats.org/officeDocument/2006/relationships/tags" Target="../tags/tag4.xml"/><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9.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69.xml"/><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111.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33.xml"/><Relationship Id="rId5" Type="http://schemas.openxmlformats.org/officeDocument/2006/relationships/image" Target="../media/image26.gif"/><Relationship Id="rId4" Type="http://schemas.openxmlformats.org/officeDocument/2006/relationships/image" Target="../media/image25.gif"/></Relationships>
</file>

<file path=ppt/slides/_rels/slide2.xml.rels><?xml version="1.0" encoding="UTF-8" standalone="yes"?>
<Relationships xmlns="http://schemas.openxmlformats.org/package/2006/relationships"><Relationship Id="rId8" Type="http://schemas.openxmlformats.org/officeDocument/2006/relationships/image" Target="../media/image26.gif"/><Relationship Id="rId3" Type="http://schemas.openxmlformats.org/officeDocument/2006/relationships/image" Target="../media/image22.jpeg"/><Relationship Id="rId7" Type="http://schemas.openxmlformats.org/officeDocument/2006/relationships/image" Target="../media/image25.gif"/><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24.png"/><Relationship Id="rId5" Type="http://schemas.microsoft.com/office/2007/relationships/hdphoto" Target="../media/hdphoto1.wdp"/><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8.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image" Target="../media/image29.jpeg"/><Relationship Id="rId1" Type="http://schemas.openxmlformats.org/officeDocument/2006/relationships/slideLayout" Target="../slideLayouts/slideLayout110.xml"/><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F209BC2-607F-4F65-90A5-8D23252BACE3}"/>
              </a:ext>
            </a:extLst>
          </p:cNvPr>
          <p:cNvSpPr/>
          <p:nvPr/>
        </p:nvSpPr>
        <p:spPr>
          <a:xfrm>
            <a:off x="3865070" y="3939884"/>
            <a:ext cx="5342541" cy="852700"/>
          </a:xfrm>
          <a:prstGeom prst="rect">
            <a:avLst/>
          </a:prstGeom>
          <a:solidFill>
            <a:srgbClr val="000000">
              <a:alpha val="89804"/>
            </a:srgb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8CC61AEC-6616-4168-90F6-428DF76FBD76}"/>
              </a:ext>
            </a:extLst>
          </p:cNvPr>
          <p:cNvSpPr txBox="1">
            <a:spLocks/>
          </p:cNvSpPr>
          <p:nvPr/>
        </p:nvSpPr>
        <p:spPr>
          <a:xfrm>
            <a:off x="3780549" y="4020881"/>
            <a:ext cx="3196920" cy="881121"/>
          </a:xfrm>
          <a:prstGeom prst="rect">
            <a:avLst/>
          </a:prstGeom>
        </p:spPr>
        <p:txBody>
          <a:bodyPr vert="horz" lIns="91440" tIns="45720" rIns="91440" bIns="45720" rtlCol="0" anchor="t">
            <a:norm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marL="0" marR="0" lvl="0" indent="0" algn="r" defTabSz="685783" rtl="0" eaLnBrk="1" fontAlgn="auto" latinLnBrk="0" hangingPunct="1">
              <a:lnSpc>
                <a:spcPct val="90000"/>
              </a:lnSpc>
              <a:spcBef>
                <a:spcPct val="0"/>
              </a:spcBef>
              <a:spcAft>
                <a:spcPts val="0"/>
              </a:spcAft>
              <a:buClrTx/>
              <a:buSzTx/>
              <a:buFontTx/>
              <a:buNone/>
              <a:tabLst/>
              <a:defRPr/>
            </a:pPr>
            <a:r>
              <a:rPr kumimoji="0" lang="en-US" sz="2100" b="0" i="0" u="none" strike="noStrike" kern="1200" cap="none" spc="0" normalizeH="0" baseline="0" noProof="0" dirty="0">
                <a:ln>
                  <a:noFill/>
                </a:ln>
                <a:solidFill>
                  <a:srgbClr val="FFC000"/>
                </a:solidFill>
                <a:effectLst/>
                <a:uLnTx/>
                <a:uFillTx/>
                <a:latin typeface="Segoe UI Light" panose="020B0502040204020203" pitchFamily="34" charset="0"/>
                <a:ea typeface="+mj-ea"/>
                <a:cs typeface="Segoe UI Light" panose="020B0502040204020203" pitchFamily="34" charset="0"/>
              </a:rPr>
              <a:t>CAMSA Road Tour</a:t>
            </a:r>
          </a:p>
          <a:p>
            <a:pPr marL="0" marR="0" lvl="0" indent="0" algn="r" defTabSz="685783" rtl="0" eaLnBrk="1" fontAlgn="auto" latinLnBrk="0" hangingPunct="1">
              <a:lnSpc>
                <a:spcPct val="90000"/>
              </a:lnSpc>
              <a:spcBef>
                <a:spcPct val="0"/>
              </a:spcBef>
              <a:spcAft>
                <a:spcPts val="0"/>
              </a:spcAft>
              <a:buClrTx/>
              <a:buSzTx/>
              <a:buFontTx/>
              <a:buNone/>
              <a:tabLst/>
              <a:defRPr/>
            </a:pPr>
            <a:r>
              <a:rPr lang="en-US" sz="2100" noProof="0" dirty="0">
                <a:solidFill>
                  <a:srgbClr val="FFC000"/>
                </a:solidFill>
                <a:latin typeface="Segoe UI Light" panose="020B0502040204020203" pitchFamily="34" charset="0"/>
                <a:cs typeface="Segoe UI Light" panose="020B0502040204020203" pitchFamily="34" charset="0"/>
              </a:rPr>
              <a:t>Sacramento, California</a:t>
            </a:r>
            <a:endParaRPr kumimoji="0" lang="en-US" sz="2100" b="0" i="0" u="none" strike="noStrike" kern="1200" cap="none" spc="0" normalizeH="0" baseline="0" noProof="0" dirty="0">
              <a:ln>
                <a:noFill/>
              </a:ln>
              <a:solidFill>
                <a:srgbClr val="FFC000">
                  <a:lumMod val="40000"/>
                  <a:lumOff val="60000"/>
                </a:srgbClr>
              </a:solidFill>
              <a:effectLst/>
              <a:uLnTx/>
              <a:uFillTx/>
              <a:latin typeface="Segoe UI Light" panose="020B0502040204020203" pitchFamily="34" charset="0"/>
              <a:ea typeface="+mj-ea"/>
              <a:cs typeface="Segoe UI Light" panose="020B0502040204020203" pitchFamily="34" charset="0"/>
            </a:endParaRPr>
          </a:p>
        </p:txBody>
      </p:sp>
      <p:sp>
        <p:nvSpPr>
          <p:cNvPr id="10" name="Title 1">
            <a:extLst>
              <a:ext uri="{FF2B5EF4-FFF2-40B4-BE49-F238E27FC236}">
                <a16:creationId xmlns:a16="http://schemas.microsoft.com/office/drawing/2014/main" id="{2E6CF3E5-AC35-46F0-8457-1ECFE901DD9F}"/>
              </a:ext>
            </a:extLst>
          </p:cNvPr>
          <p:cNvSpPr txBox="1">
            <a:spLocks/>
          </p:cNvSpPr>
          <p:nvPr/>
        </p:nvSpPr>
        <p:spPr>
          <a:xfrm>
            <a:off x="7090879" y="4023490"/>
            <a:ext cx="2145272" cy="881121"/>
          </a:xfrm>
          <a:prstGeom prst="rect">
            <a:avLst/>
          </a:prstGeom>
        </p:spPr>
        <p:txBody>
          <a:bodyPr vert="horz" lIns="91440" tIns="45720" rIns="91440" bIns="45720" rtlCol="0" anchor="t">
            <a:norm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100"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j-ea"/>
                <a:cs typeface="Segoe UI Light" panose="020B0502040204020203" pitchFamily="34" charset="0"/>
              </a:rPr>
              <a:t>October</a:t>
            </a:r>
          </a:p>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100" b="0" i="0" u="none" strike="noStrike" kern="1200" cap="none" spc="0" normalizeH="0" baseline="0" noProof="0" dirty="0">
                <a:ln>
                  <a:noFill/>
                </a:ln>
                <a:solidFill>
                  <a:srgbClr val="E7E6E6">
                    <a:lumMod val="50000"/>
                  </a:srgbClr>
                </a:solidFill>
                <a:effectLst/>
                <a:uLnTx/>
                <a:uFillTx/>
                <a:latin typeface="Segoe UI Light" panose="020B0502040204020203" pitchFamily="34" charset="0"/>
                <a:ea typeface="+mj-ea"/>
                <a:cs typeface="Segoe UI Light" panose="020B0502040204020203" pitchFamily="34" charset="0"/>
              </a:rPr>
              <a:t>2019</a:t>
            </a:r>
          </a:p>
        </p:txBody>
      </p:sp>
      <p:cxnSp>
        <p:nvCxnSpPr>
          <p:cNvPr id="11" name="Straight Connector 10">
            <a:extLst>
              <a:ext uri="{FF2B5EF4-FFF2-40B4-BE49-F238E27FC236}">
                <a16:creationId xmlns:a16="http://schemas.microsoft.com/office/drawing/2014/main" id="{F2F7423F-A393-416D-B5CF-AD3D9AFD44B0}"/>
              </a:ext>
            </a:extLst>
          </p:cNvPr>
          <p:cNvCxnSpPr/>
          <p:nvPr/>
        </p:nvCxnSpPr>
        <p:spPr>
          <a:xfrm flipV="1">
            <a:off x="7034172" y="4099321"/>
            <a:ext cx="0" cy="548640"/>
          </a:xfrm>
          <a:prstGeom prst="line">
            <a:avLst/>
          </a:prstGeom>
          <a:ln>
            <a:solidFill>
              <a:schemeClr val="tx1">
                <a:lumMod val="85000"/>
                <a:lumOff val="15000"/>
              </a:schemeClr>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22349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800" dirty="0">
                <a:solidFill>
                  <a:schemeClr val="tx1">
                    <a:lumMod val="60000"/>
                    <a:lumOff val="40000"/>
                  </a:schemeClr>
                </a:solidFill>
              </a:rPr>
              <a:t>Then:</a:t>
            </a:r>
            <a:r>
              <a:rPr lang="en-US" dirty="0"/>
              <a:t> Education Desktop </a:t>
            </a:r>
            <a:r>
              <a:rPr lang="en-US" sz="1800" dirty="0">
                <a:solidFill>
                  <a:schemeClr val="tx1">
                    <a:lumMod val="60000"/>
                    <a:lumOff val="40000"/>
                  </a:schemeClr>
                </a:solidFill>
              </a:rPr>
              <a:t>and now: </a:t>
            </a:r>
            <a:r>
              <a:rPr lang="en-US" dirty="0"/>
              <a:t>Microsoft 365 Education </a:t>
            </a:r>
          </a:p>
        </p:txBody>
      </p:sp>
      <p:sp>
        <p:nvSpPr>
          <p:cNvPr id="9" name="Rectangle 8"/>
          <p:cNvSpPr/>
          <p:nvPr/>
        </p:nvSpPr>
        <p:spPr bwMode="auto">
          <a:xfrm>
            <a:off x="553495" y="799848"/>
            <a:ext cx="2374009" cy="376281"/>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109700" rIns="137124" bIns="109700" numCol="1" spcCol="0" rtlCol="0" fromWordArt="0" anchor="ctr" anchorCtr="0" forceAA="0" compatLnSpc="1">
            <a:prstTxWarp prst="textNoShape">
              <a:avLst/>
            </a:prstTxWarp>
            <a:noAutofit/>
          </a:bodyPr>
          <a:lstStyle/>
          <a:p>
            <a:pPr algn="ctr" defTabSz="699144" fontAlgn="base">
              <a:lnSpc>
                <a:spcPct val="90000"/>
              </a:lnSpc>
              <a:spcBef>
                <a:spcPct val="0"/>
              </a:spcBef>
              <a:spcAft>
                <a:spcPct val="0"/>
              </a:spcAft>
              <a:defRPr/>
            </a:pPr>
            <a:r>
              <a:rPr lang="en-US" sz="1500" b="1" kern="0" dirty="0">
                <a:solidFill>
                  <a:srgbClr val="0078D7"/>
                </a:solidFill>
                <a:latin typeface="Segoe UI"/>
                <a:ea typeface="Segoe UI" pitchFamily="34" charset="0"/>
                <a:cs typeface="Segoe UI" pitchFamily="34" charset="0"/>
              </a:rPr>
              <a:t>Education Desktop</a:t>
            </a:r>
            <a:endParaRPr lang="en-US" sz="1500" b="1" kern="0" baseline="30000" dirty="0">
              <a:solidFill>
                <a:srgbClr val="0078D7"/>
              </a:solidFill>
              <a:latin typeface="Segoe UI"/>
              <a:ea typeface="Segoe UI" pitchFamily="34" charset="0"/>
              <a:cs typeface="Segoe UI" pitchFamily="34" charset="0"/>
            </a:endParaRPr>
          </a:p>
        </p:txBody>
      </p:sp>
      <p:sp>
        <p:nvSpPr>
          <p:cNvPr id="11" name="Rectangle 10"/>
          <p:cNvSpPr/>
          <p:nvPr/>
        </p:nvSpPr>
        <p:spPr bwMode="auto">
          <a:xfrm>
            <a:off x="3444110" y="799848"/>
            <a:ext cx="2374009" cy="376281"/>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109700" rIns="137124" bIns="109700" numCol="1" spcCol="0" rtlCol="0" fromWordArt="0" anchor="ctr" anchorCtr="0" forceAA="0" compatLnSpc="1">
            <a:prstTxWarp prst="textNoShape">
              <a:avLst/>
            </a:prstTxWarp>
            <a:noAutofit/>
          </a:bodyPr>
          <a:lstStyle/>
          <a:p>
            <a:pPr algn="ctr" defTabSz="699144" fontAlgn="base">
              <a:lnSpc>
                <a:spcPct val="90000"/>
              </a:lnSpc>
              <a:spcBef>
                <a:spcPct val="0"/>
              </a:spcBef>
              <a:spcAft>
                <a:spcPct val="0"/>
              </a:spcAft>
              <a:defRPr/>
            </a:pPr>
            <a:r>
              <a:rPr lang="en-US" sz="1500" b="1" kern="0" dirty="0">
                <a:solidFill>
                  <a:srgbClr val="0078D7"/>
                </a:solidFill>
                <a:latin typeface="Segoe UI"/>
                <a:ea typeface="Segoe UI" pitchFamily="34" charset="0"/>
                <a:cs typeface="Segoe UI" pitchFamily="34" charset="0"/>
              </a:rPr>
              <a:t>Microsoft 365 A3</a:t>
            </a:r>
            <a:endParaRPr lang="en-US" sz="1500" b="1" kern="0" baseline="30000" dirty="0">
              <a:solidFill>
                <a:srgbClr val="0078D7"/>
              </a:solidFill>
              <a:latin typeface="Segoe UI"/>
              <a:ea typeface="Segoe UI" pitchFamily="34" charset="0"/>
              <a:cs typeface="Segoe UI" pitchFamily="34" charset="0"/>
            </a:endParaRPr>
          </a:p>
        </p:txBody>
      </p:sp>
      <p:sp>
        <p:nvSpPr>
          <p:cNvPr id="13" name="Rectangle 12"/>
          <p:cNvSpPr/>
          <p:nvPr/>
        </p:nvSpPr>
        <p:spPr bwMode="auto">
          <a:xfrm>
            <a:off x="668080" y="1345779"/>
            <a:ext cx="2166809" cy="30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Office Professional Plus</a:t>
            </a:r>
          </a:p>
          <a:p>
            <a:pPr algn="ctr" defTabSz="699354" fontAlgn="base">
              <a:lnSpc>
                <a:spcPct val="90000"/>
              </a:lnSpc>
              <a:spcBef>
                <a:spcPct val="0"/>
              </a:spcBef>
              <a:spcAft>
                <a:spcPct val="0"/>
              </a:spcAft>
              <a:defRPr/>
            </a:pPr>
            <a:r>
              <a:rPr lang="en-US" sz="825" i="1" dirty="0">
                <a:gradFill>
                  <a:gsLst>
                    <a:gs pos="0">
                      <a:srgbClr val="FFFFFF"/>
                    </a:gs>
                    <a:gs pos="100000">
                      <a:srgbClr val="FFFFFF"/>
                    </a:gs>
                  </a:gsLst>
                  <a:lin ang="5400000" scaled="0"/>
                </a:gradFill>
                <a:latin typeface="Segoe UI"/>
                <a:ea typeface="Segoe UI" pitchFamily="34" charset="0"/>
                <a:cs typeface="Segoe UI" pitchFamily="34" charset="0"/>
              </a:rPr>
              <a:t>w/ rights to Office 365 ProPlus</a:t>
            </a:r>
          </a:p>
        </p:txBody>
      </p:sp>
      <p:sp>
        <p:nvSpPr>
          <p:cNvPr id="14" name="Rectangle 13"/>
          <p:cNvSpPr/>
          <p:nvPr/>
        </p:nvSpPr>
        <p:spPr bwMode="auto">
          <a:xfrm>
            <a:off x="668080" y="2053537"/>
            <a:ext cx="2166809" cy="4770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Windows SA</a:t>
            </a:r>
          </a:p>
        </p:txBody>
      </p:sp>
      <p:sp>
        <p:nvSpPr>
          <p:cNvPr id="15" name="Rectangle 14"/>
          <p:cNvSpPr/>
          <p:nvPr/>
        </p:nvSpPr>
        <p:spPr bwMode="auto">
          <a:xfrm>
            <a:off x="668080" y="4074453"/>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Windows CAL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Core or Enterprise)</a:t>
            </a:r>
          </a:p>
        </p:txBody>
      </p:sp>
      <p:sp>
        <p:nvSpPr>
          <p:cNvPr id="17" name="Rectangle 16"/>
          <p:cNvSpPr/>
          <p:nvPr/>
        </p:nvSpPr>
        <p:spPr bwMode="auto">
          <a:xfrm>
            <a:off x="668080" y="4328661"/>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Productivity CAL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Core or Enterprise)</a:t>
            </a:r>
          </a:p>
        </p:txBody>
      </p:sp>
      <p:sp>
        <p:nvSpPr>
          <p:cNvPr id="18" name="Plus Sign 17"/>
          <p:cNvSpPr/>
          <p:nvPr/>
        </p:nvSpPr>
        <p:spPr bwMode="auto">
          <a:xfrm>
            <a:off x="1656987" y="1773996"/>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lus Sign 18"/>
          <p:cNvSpPr/>
          <p:nvPr/>
        </p:nvSpPr>
        <p:spPr bwMode="auto">
          <a:xfrm>
            <a:off x="1656987" y="3223793"/>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bwMode="auto">
          <a:xfrm>
            <a:off x="3568958" y="1345780"/>
            <a:ext cx="2166809" cy="51115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Office 365 A3</a:t>
            </a:r>
          </a:p>
          <a:p>
            <a:pPr algn="ctr" defTabSz="699354" fontAlgn="base">
              <a:lnSpc>
                <a:spcPct val="90000"/>
              </a:lnSpc>
              <a:spcBef>
                <a:spcPct val="0"/>
              </a:spcBef>
              <a:spcAft>
                <a:spcPct val="0"/>
              </a:spcAft>
              <a:defRPr/>
            </a:pPr>
            <a:r>
              <a:rPr lang="en-US" sz="825" i="1" dirty="0">
                <a:gradFill>
                  <a:gsLst>
                    <a:gs pos="0">
                      <a:srgbClr val="FFFFFF"/>
                    </a:gs>
                    <a:gs pos="100000">
                      <a:srgbClr val="FFFFFF"/>
                    </a:gs>
                  </a:gsLst>
                  <a:lin ang="5400000" scaled="0"/>
                </a:gradFill>
                <a:latin typeface="Segoe UI"/>
                <a:ea typeface="Segoe UI" pitchFamily="34" charset="0"/>
                <a:cs typeface="Segoe UI" pitchFamily="34" charset="0"/>
              </a:rPr>
              <a:t>w/ rights to Office Professional Plus</a:t>
            </a:r>
          </a:p>
        </p:txBody>
      </p:sp>
      <p:sp>
        <p:nvSpPr>
          <p:cNvPr id="21" name="Rectangle 20"/>
          <p:cNvSpPr/>
          <p:nvPr/>
        </p:nvSpPr>
        <p:spPr bwMode="auto">
          <a:xfrm>
            <a:off x="3568959" y="2053537"/>
            <a:ext cx="2166809" cy="4770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Windows E3</a:t>
            </a:r>
          </a:p>
        </p:txBody>
      </p:sp>
      <p:sp>
        <p:nvSpPr>
          <p:cNvPr id="22" name="Rectangle 21"/>
          <p:cNvSpPr/>
          <p:nvPr/>
        </p:nvSpPr>
        <p:spPr bwMode="auto">
          <a:xfrm>
            <a:off x="3568958" y="4074453"/>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Windows CAL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Enterprise)</a:t>
            </a:r>
          </a:p>
        </p:txBody>
      </p:sp>
      <p:sp>
        <p:nvSpPr>
          <p:cNvPr id="23" name="Rectangle 22"/>
          <p:cNvSpPr/>
          <p:nvPr/>
        </p:nvSpPr>
        <p:spPr bwMode="auto">
          <a:xfrm>
            <a:off x="3568958" y="4328661"/>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Productivity CAL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Enterprise)</a:t>
            </a:r>
          </a:p>
        </p:txBody>
      </p:sp>
      <p:sp>
        <p:nvSpPr>
          <p:cNvPr id="24" name="Plus Sign 23"/>
          <p:cNvSpPr/>
          <p:nvPr/>
        </p:nvSpPr>
        <p:spPr bwMode="auto">
          <a:xfrm>
            <a:off x="4581909" y="1879362"/>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lus Sign 24"/>
          <p:cNvSpPr/>
          <p:nvPr/>
        </p:nvSpPr>
        <p:spPr bwMode="auto">
          <a:xfrm>
            <a:off x="4581909" y="3223793"/>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p:cNvSpPr/>
          <p:nvPr/>
        </p:nvSpPr>
        <p:spPr bwMode="auto">
          <a:xfrm>
            <a:off x="3568958" y="4575024"/>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Productivity Server License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Enterprise)</a:t>
            </a:r>
          </a:p>
        </p:txBody>
      </p:sp>
      <p:sp>
        <p:nvSpPr>
          <p:cNvPr id="27" name="Rectangle 26"/>
          <p:cNvSpPr/>
          <p:nvPr/>
        </p:nvSpPr>
        <p:spPr bwMode="auto">
          <a:xfrm>
            <a:off x="3568958" y="2727176"/>
            <a:ext cx="2166809" cy="4770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EMS E3</a:t>
            </a:r>
          </a:p>
        </p:txBody>
      </p:sp>
      <p:sp>
        <p:nvSpPr>
          <p:cNvPr id="28" name="Plus Sign 27"/>
          <p:cNvSpPr/>
          <p:nvPr/>
        </p:nvSpPr>
        <p:spPr bwMode="auto">
          <a:xfrm>
            <a:off x="4581909" y="2550215"/>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Plus Sign 31"/>
          <p:cNvSpPr/>
          <p:nvPr/>
        </p:nvSpPr>
        <p:spPr bwMode="auto">
          <a:xfrm>
            <a:off x="4581909" y="3894582"/>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p:cNvSpPr/>
          <p:nvPr/>
        </p:nvSpPr>
        <p:spPr bwMode="auto">
          <a:xfrm>
            <a:off x="3568958" y="3400815"/>
            <a:ext cx="2166809" cy="47703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Minecraft: Education Edition</a:t>
            </a:r>
          </a:p>
        </p:txBody>
      </p:sp>
      <p:sp>
        <p:nvSpPr>
          <p:cNvPr id="30" name="Arrow: Chevron 29"/>
          <p:cNvSpPr/>
          <p:nvPr/>
        </p:nvSpPr>
        <p:spPr bwMode="auto">
          <a:xfrm>
            <a:off x="3093965" y="777510"/>
            <a:ext cx="167922" cy="431527"/>
          </a:xfrm>
          <a:prstGeom prst="chevron">
            <a:avLst>
              <a:gd name="adj" fmla="val 56372"/>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TextBox 34"/>
          <p:cNvSpPr txBox="1"/>
          <p:nvPr/>
        </p:nvSpPr>
        <p:spPr>
          <a:xfrm>
            <a:off x="6000342" y="891883"/>
            <a:ext cx="2929468" cy="367024"/>
          </a:xfrm>
          <a:prstGeom prst="rect">
            <a:avLst/>
          </a:prstGeom>
          <a:noFill/>
        </p:spPr>
        <p:txBody>
          <a:bodyPr wrap="square" lIns="137160" tIns="109728" rIns="137160" bIns="109728" rtlCol="0">
            <a:spAutoFit/>
          </a:bodyPr>
          <a:lstStyle/>
          <a:p>
            <a:pPr defTabSz="685800">
              <a:lnSpc>
                <a:spcPct val="90000"/>
              </a:lnSpc>
              <a:spcAft>
                <a:spcPts val="450"/>
              </a:spcAft>
              <a:defRPr/>
            </a:pPr>
            <a:r>
              <a:rPr lang="en-US" sz="1050" b="1" i="1" dirty="0">
                <a:gradFill>
                  <a:gsLst>
                    <a:gs pos="2917">
                      <a:srgbClr val="505050"/>
                    </a:gs>
                    <a:gs pos="30000">
                      <a:srgbClr val="505050"/>
                    </a:gs>
                  </a:gsLst>
                  <a:lin ang="5400000" scaled="0"/>
                </a:gradFill>
                <a:latin typeface="Segoe UI"/>
              </a:rPr>
              <a:t>What’s new for CAMSA 2.0 customers?</a:t>
            </a:r>
          </a:p>
        </p:txBody>
      </p:sp>
      <p:sp>
        <p:nvSpPr>
          <p:cNvPr id="31" name="Rectangle 30">
            <a:extLst>
              <a:ext uri="{FF2B5EF4-FFF2-40B4-BE49-F238E27FC236}">
                <a16:creationId xmlns:a16="http://schemas.microsoft.com/office/drawing/2014/main" id="{63F06AB4-04BD-4234-9DE1-7A03C0CF8CBE}"/>
              </a:ext>
            </a:extLst>
          </p:cNvPr>
          <p:cNvSpPr/>
          <p:nvPr/>
        </p:nvSpPr>
        <p:spPr bwMode="auto">
          <a:xfrm>
            <a:off x="6085449" y="1300051"/>
            <a:ext cx="2856985" cy="3461706"/>
          </a:xfrm>
          <a:prstGeom prst="rect">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24" tIns="109700" rIns="137124" bIns="109700" numCol="1" spcCol="0" rtlCol="0" fromWordArt="0" anchor="t" anchorCtr="0" forceAA="0" compatLnSpc="1">
            <a:prstTxWarp prst="textNoShape">
              <a:avLst/>
            </a:prstTxWarp>
            <a:noAutofit/>
          </a:bodyPr>
          <a:lstStyle>
            <a:defPPr>
              <a:defRPr lang="en-US"/>
            </a:defPPr>
            <a:lvl1pPr marL="0" algn="l" defTabSz="932513" rtl="0" eaLnBrk="1" latinLnBrk="0" hangingPunct="1">
              <a:defRPr sz="1836" kern="1200">
                <a:solidFill>
                  <a:schemeClr val="lt1"/>
                </a:solidFill>
                <a:latin typeface="+mn-lt"/>
                <a:ea typeface="+mn-ea"/>
                <a:cs typeface="+mn-cs"/>
              </a:defRPr>
            </a:lvl1pPr>
            <a:lvl2pPr marL="466256" algn="l" defTabSz="932513" rtl="0" eaLnBrk="1" latinLnBrk="0" hangingPunct="1">
              <a:defRPr sz="1836" kern="1200">
                <a:solidFill>
                  <a:schemeClr val="lt1"/>
                </a:solidFill>
                <a:latin typeface="+mn-lt"/>
                <a:ea typeface="+mn-ea"/>
                <a:cs typeface="+mn-cs"/>
              </a:defRPr>
            </a:lvl2pPr>
            <a:lvl3pPr marL="932513" algn="l" defTabSz="932513" rtl="0" eaLnBrk="1" latinLnBrk="0" hangingPunct="1">
              <a:defRPr sz="1836" kern="1200">
                <a:solidFill>
                  <a:schemeClr val="lt1"/>
                </a:solidFill>
                <a:latin typeface="+mn-lt"/>
                <a:ea typeface="+mn-ea"/>
                <a:cs typeface="+mn-cs"/>
              </a:defRPr>
            </a:lvl3pPr>
            <a:lvl4pPr marL="1398769" algn="l" defTabSz="932513" rtl="0" eaLnBrk="1" latinLnBrk="0" hangingPunct="1">
              <a:defRPr sz="1836" kern="1200">
                <a:solidFill>
                  <a:schemeClr val="lt1"/>
                </a:solidFill>
                <a:latin typeface="+mn-lt"/>
                <a:ea typeface="+mn-ea"/>
                <a:cs typeface="+mn-cs"/>
              </a:defRPr>
            </a:lvl4pPr>
            <a:lvl5pPr marL="1865026" algn="l" defTabSz="932513" rtl="0" eaLnBrk="1" latinLnBrk="0" hangingPunct="1">
              <a:defRPr sz="1836" kern="1200">
                <a:solidFill>
                  <a:schemeClr val="lt1"/>
                </a:solidFill>
                <a:latin typeface="+mn-lt"/>
                <a:ea typeface="+mn-ea"/>
                <a:cs typeface="+mn-cs"/>
              </a:defRPr>
            </a:lvl5pPr>
            <a:lvl6pPr marL="2331281" algn="l" defTabSz="932513" rtl="0" eaLnBrk="1" latinLnBrk="0" hangingPunct="1">
              <a:defRPr sz="1836" kern="1200">
                <a:solidFill>
                  <a:schemeClr val="lt1"/>
                </a:solidFill>
                <a:latin typeface="+mn-lt"/>
                <a:ea typeface="+mn-ea"/>
                <a:cs typeface="+mn-cs"/>
              </a:defRPr>
            </a:lvl6pPr>
            <a:lvl7pPr marL="2797538" algn="l" defTabSz="932513" rtl="0" eaLnBrk="1" latinLnBrk="0" hangingPunct="1">
              <a:defRPr sz="1836" kern="1200">
                <a:solidFill>
                  <a:schemeClr val="lt1"/>
                </a:solidFill>
                <a:latin typeface="+mn-lt"/>
                <a:ea typeface="+mn-ea"/>
                <a:cs typeface="+mn-cs"/>
              </a:defRPr>
            </a:lvl7pPr>
            <a:lvl8pPr marL="3263794" algn="l" defTabSz="932513" rtl="0" eaLnBrk="1" latinLnBrk="0" hangingPunct="1">
              <a:defRPr sz="1836" kern="1200">
                <a:solidFill>
                  <a:schemeClr val="lt1"/>
                </a:solidFill>
                <a:latin typeface="+mn-lt"/>
                <a:ea typeface="+mn-ea"/>
                <a:cs typeface="+mn-cs"/>
              </a:defRPr>
            </a:lvl8pPr>
            <a:lvl9pPr marL="3730050" algn="l" defTabSz="932513" rtl="0" eaLnBrk="1" latinLnBrk="0" hangingPunct="1">
              <a:defRPr sz="1836" kern="1200">
                <a:solidFill>
                  <a:schemeClr val="lt1"/>
                </a:solidFill>
                <a:latin typeface="+mn-lt"/>
                <a:ea typeface="+mn-ea"/>
                <a:cs typeface="+mn-cs"/>
              </a:defRPr>
            </a:lvl9pPr>
          </a:lstStyle>
          <a:p>
            <a:pPr defTabSz="699385">
              <a:spcBef>
                <a:spcPts val="900"/>
              </a:spcBef>
            </a:pPr>
            <a:r>
              <a:rPr lang="en-US" sz="1050" dirty="0">
                <a:gradFill>
                  <a:gsLst>
                    <a:gs pos="2917">
                      <a:srgbClr val="000000"/>
                    </a:gs>
                    <a:gs pos="30000">
                      <a:srgbClr val="000000"/>
                    </a:gs>
                  </a:gsLst>
                  <a:lin ang="5400000" scaled="0"/>
                </a:gradFill>
                <a:latin typeface="Segoe UI Semibold"/>
              </a:rPr>
              <a:t>Office 365</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dvanced Security Management</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Live Meeting Broadcast</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Bookings </a:t>
            </a:r>
          </a:p>
          <a:p>
            <a:pPr defTabSz="699385">
              <a:spcBef>
                <a:spcPts val="900"/>
              </a:spcBef>
            </a:pPr>
            <a:r>
              <a:rPr lang="en-US" sz="1050" dirty="0">
                <a:gradFill>
                  <a:gsLst>
                    <a:gs pos="2917">
                      <a:srgbClr val="000000"/>
                    </a:gs>
                    <a:gs pos="30000">
                      <a:srgbClr val="000000"/>
                    </a:gs>
                  </a:gsLst>
                  <a:lin ang="5400000" scaled="0"/>
                </a:gradFill>
                <a:latin typeface="Segoe UI Semibold"/>
              </a:rPr>
              <a:t>Enterprise Mobility + Security</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Intune for Education</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zure Active Directory Premium P1</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zure Information Protection Premium P1</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dvanced Threat Analytics</a:t>
            </a:r>
          </a:p>
          <a:p>
            <a:pPr defTabSz="699385">
              <a:spcBef>
                <a:spcPts val="900"/>
              </a:spcBef>
            </a:pPr>
            <a:endParaRPr lang="en-US" sz="1050" dirty="0">
              <a:gradFill>
                <a:gsLst>
                  <a:gs pos="2917">
                    <a:srgbClr val="000000"/>
                  </a:gs>
                  <a:gs pos="30000">
                    <a:srgbClr val="000000"/>
                  </a:gs>
                </a:gsLst>
                <a:lin ang="5400000" scaled="0"/>
              </a:gradFill>
              <a:latin typeface="Segoe UI Semibold"/>
            </a:endParaRPr>
          </a:p>
          <a:p>
            <a:pPr defTabSz="699385">
              <a:spcBef>
                <a:spcPts val="900"/>
              </a:spcBef>
            </a:pPr>
            <a:r>
              <a:rPr lang="en-US" sz="1050" dirty="0">
                <a:gradFill>
                  <a:gsLst>
                    <a:gs pos="2917">
                      <a:srgbClr val="000000"/>
                    </a:gs>
                    <a:gs pos="30000">
                      <a:srgbClr val="000000"/>
                    </a:gs>
                  </a:gsLst>
                  <a:lin ang="5400000" scaled="0"/>
                </a:gradFill>
                <a:latin typeface="Segoe UI Semibold"/>
              </a:rPr>
              <a:t>Minecraft: Education Edition</a:t>
            </a:r>
          </a:p>
          <a:p>
            <a:pPr defTabSz="699385">
              <a:spcBef>
                <a:spcPts val="900"/>
              </a:spcBef>
            </a:pPr>
            <a:endParaRPr lang="en-US" sz="1050" dirty="0">
              <a:gradFill>
                <a:gsLst>
                  <a:gs pos="2917">
                    <a:srgbClr val="000000"/>
                  </a:gs>
                  <a:gs pos="30000">
                    <a:srgbClr val="000000"/>
                  </a:gs>
                </a:gsLst>
                <a:lin ang="5400000" scaled="0"/>
              </a:gradFill>
              <a:latin typeface="Segoe UI Semibold"/>
            </a:endParaRPr>
          </a:p>
          <a:p>
            <a:pPr defTabSz="699385">
              <a:spcBef>
                <a:spcPts val="900"/>
              </a:spcBef>
            </a:pPr>
            <a:r>
              <a:rPr lang="en-US" sz="1050" dirty="0">
                <a:gradFill>
                  <a:gsLst>
                    <a:gs pos="2917">
                      <a:srgbClr val="000000"/>
                    </a:gs>
                    <a:gs pos="30000">
                      <a:srgbClr val="000000"/>
                    </a:gs>
                  </a:gsLst>
                  <a:lin ang="5400000" scaled="0"/>
                </a:gradFill>
                <a:latin typeface="Segoe UI Semibold"/>
              </a:rPr>
              <a:t>Client Access and Server Licenses</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ll customers get Productivity Server licenses</a:t>
            </a:r>
          </a:p>
        </p:txBody>
      </p:sp>
    </p:spTree>
    <p:custDataLst>
      <p:tags r:id="rId1"/>
    </p:custDataLst>
    <p:extLst>
      <p:ext uri="{BB962C8B-B14F-4D97-AF65-F5344CB8AC3E}">
        <p14:creationId xmlns:p14="http://schemas.microsoft.com/office/powerpoint/2010/main" val="124400226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800" dirty="0">
                <a:solidFill>
                  <a:schemeClr val="tx1">
                    <a:lumMod val="60000"/>
                    <a:lumOff val="40000"/>
                  </a:schemeClr>
                </a:solidFill>
              </a:rPr>
              <a:t>Then:</a:t>
            </a:r>
            <a:r>
              <a:rPr lang="en-US" dirty="0"/>
              <a:t> Education Desktop </a:t>
            </a:r>
            <a:r>
              <a:rPr lang="en-US" sz="1800" dirty="0">
                <a:solidFill>
                  <a:schemeClr val="tx1">
                    <a:lumMod val="60000"/>
                    <a:lumOff val="40000"/>
                  </a:schemeClr>
                </a:solidFill>
              </a:rPr>
              <a:t>and now: </a:t>
            </a:r>
            <a:r>
              <a:rPr lang="en-US" dirty="0"/>
              <a:t>Microsoft 365 Education </a:t>
            </a:r>
          </a:p>
        </p:txBody>
      </p:sp>
      <p:sp>
        <p:nvSpPr>
          <p:cNvPr id="9" name="Rectangle 8"/>
          <p:cNvSpPr/>
          <p:nvPr/>
        </p:nvSpPr>
        <p:spPr bwMode="auto">
          <a:xfrm>
            <a:off x="553495" y="799848"/>
            <a:ext cx="2374009" cy="376281"/>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109700" rIns="137124" bIns="109700" numCol="1" spcCol="0" rtlCol="0" fromWordArt="0" anchor="ctr" anchorCtr="0" forceAA="0" compatLnSpc="1">
            <a:prstTxWarp prst="textNoShape">
              <a:avLst/>
            </a:prstTxWarp>
            <a:noAutofit/>
          </a:bodyPr>
          <a:lstStyle/>
          <a:p>
            <a:pPr algn="ctr" defTabSz="699144" fontAlgn="base">
              <a:lnSpc>
                <a:spcPct val="90000"/>
              </a:lnSpc>
              <a:spcBef>
                <a:spcPct val="0"/>
              </a:spcBef>
              <a:spcAft>
                <a:spcPct val="0"/>
              </a:spcAft>
              <a:defRPr/>
            </a:pPr>
            <a:r>
              <a:rPr lang="en-US" sz="1500" b="1" kern="0" dirty="0">
                <a:solidFill>
                  <a:srgbClr val="0078D7"/>
                </a:solidFill>
                <a:latin typeface="Segoe UI"/>
                <a:ea typeface="Segoe UI" pitchFamily="34" charset="0"/>
                <a:cs typeface="Segoe UI" pitchFamily="34" charset="0"/>
              </a:rPr>
              <a:t>Education Desktop</a:t>
            </a:r>
            <a:endParaRPr lang="en-US" sz="1500" b="1" kern="0" baseline="30000" dirty="0">
              <a:solidFill>
                <a:srgbClr val="0078D7"/>
              </a:solidFill>
              <a:latin typeface="Segoe UI"/>
              <a:ea typeface="Segoe UI" pitchFamily="34" charset="0"/>
              <a:cs typeface="Segoe UI" pitchFamily="34" charset="0"/>
            </a:endParaRPr>
          </a:p>
        </p:txBody>
      </p:sp>
      <p:sp>
        <p:nvSpPr>
          <p:cNvPr id="11" name="Rectangle 10"/>
          <p:cNvSpPr/>
          <p:nvPr/>
        </p:nvSpPr>
        <p:spPr bwMode="auto">
          <a:xfrm>
            <a:off x="3444110" y="799848"/>
            <a:ext cx="2374009" cy="376281"/>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109700" rIns="137124" bIns="109700" numCol="1" spcCol="0" rtlCol="0" fromWordArt="0" anchor="ctr" anchorCtr="0" forceAA="0" compatLnSpc="1">
            <a:prstTxWarp prst="textNoShape">
              <a:avLst/>
            </a:prstTxWarp>
            <a:noAutofit/>
          </a:bodyPr>
          <a:lstStyle/>
          <a:p>
            <a:pPr algn="ctr" defTabSz="699144" fontAlgn="base">
              <a:lnSpc>
                <a:spcPct val="90000"/>
              </a:lnSpc>
              <a:spcBef>
                <a:spcPct val="0"/>
              </a:spcBef>
              <a:spcAft>
                <a:spcPct val="0"/>
              </a:spcAft>
              <a:defRPr/>
            </a:pPr>
            <a:r>
              <a:rPr lang="en-US" sz="1500" b="1" kern="0" dirty="0">
                <a:solidFill>
                  <a:srgbClr val="0078D7"/>
                </a:solidFill>
                <a:latin typeface="Segoe UI"/>
                <a:ea typeface="Segoe UI" pitchFamily="34" charset="0"/>
                <a:cs typeface="Segoe UI" pitchFamily="34" charset="0"/>
              </a:rPr>
              <a:t>Microsoft 365 A3</a:t>
            </a:r>
            <a:endParaRPr lang="en-US" sz="1500" b="1" kern="0" baseline="30000" dirty="0">
              <a:solidFill>
                <a:srgbClr val="0078D7"/>
              </a:solidFill>
              <a:latin typeface="Segoe UI"/>
              <a:ea typeface="Segoe UI" pitchFamily="34" charset="0"/>
              <a:cs typeface="Segoe UI" pitchFamily="34" charset="0"/>
            </a:endParaRPr>
          </a:p>
        </p:txBody>
      </p:sp>
      <p:sp>
        <p:nvSpPr>
          <p:cNvPr id="13" name="Rectangle 12"/>
          <p:cNvSpPr/>
          <p:nvPr/>
        </p:nvSpPr>
        <p:spPr bwMode="auto">
          <a:xfrm>
            <a:off x="668080" y="1345779"/>
            <a:ext cx="2166809" cy="30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Office Professional Plus</a:t>
            </a:r>
          </a:p>
          <a:p>
            <a:pPr algn="ctr" defTabSz="699354" fontAlgn="base">
              <a:lnSpc>
                <a:spcPct val="90000"/>
              </a:lnSpc>
              <a:spcBef>
                <a:spcPct val="0"/>
              </a:spcBef>
              <a:spcAft>
                <a:spcPct val="0"/>
              </a:spcAft>
              <a:defRPr/>
            </a:pPr>
            <a:r>
              <a:rPr lang="en-US" sz="825" i="1" dirty="0">
                <a:gradFill>
                  <a:gsLst>
                    <a:gs pos="0">
                      <a:srgbClr val="FFFFFF"/>
                    </a:gs>
                    <a:gs pos="100000">
                      <a:srgbClr val="FFFFFF"/>
                    </a:gs>
                  </a:gsLst>
                  <a:lin ang="5400000" scaled="0"/>
                </a:gradFill>
                <a:latin typeface="Segoe UI"/>
                <a:ea typeface="Segoe UI" pitchFamily="34" charset="0"/>
                <a:cs typeface="Segoe UI" pitchFamily="34" charset="0"/>
              </a:rPr>
              <a:t>w/ rights to Office 365 ProPlus</a:t>
            </a:r>
          </a:p>
        </p:txBody>
      </p:sp>
      <p:sp>
        <p:nvSpPr>
          <p:cNvPr id="14" name="Rectangle 13"/>
          <p:cNvSpPr/>
          <p:nvPr/>
        </p:nvSpPr>
        <p:spPr bwMode="auto">
          <a:xfrm>
            <a:off x="668080" y="2053537"/>
            <a:ext cx="2166809" cy="4770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Windows SA</a:t>
            </a:r>
          </a:p>
        </p:txBody>
      </p:sp>
      <p:sp>
        <p:nvSpPr>
          <p:cNvPr id="15" name="Rectangle 14"/>
          <p:cNvSpPr/>
          <p:nvPr/>
        </p:nvSpPr>
        <p:spPr bwMode="auto">
          <a:xfrm>
            <a:off x="668080" y="4074453"/>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Windows CAL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Core or Enterprise)</a:t>
            </a:r>
          </a:p>
        </p:txBody>
      </p:sp>
      <p:sp>
        <p:nvSpPr>
          <p:cNvPr id="17" name="Rectangle 16"/>
          <p:cNvSpPr/>
          <p:nvPr/>
        </p:nvSpPr>
        <p:spPr bwMode="auto">
          <a:xfrm>
            <a:off x="668080" y="4328661"/>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Productivity CAL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Core or Enterprise)</a:t>
            </a:r>
          </a:p>
        </p:txBody>
      </p:sp>
      <p:sp>
        <p:nvSpPr>
          <p:cNvPr id="18" name="Plus Sign 17"/>
          <p:cNvSpPr/>
          <p:nvPr/>
        </p:nvSpPr>
        <p:spPr bwMode="auto">
          <a:xfrm>
            <a:off x="1656987" y="1773996"/>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lus Sign 18"/>
          <p:cNvSpPr/>
          <p:nvPr/>
        </p:nvSpPr>
        <p:spPr bwMode="auto">
          <a:xfrm>
            <a:off x="1656987" y="3223793"/>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bwMode="auto">
          <a:xfrm>
            <a:off x="3568958" y="1345780"/>
            <a:ext cx="2166809" cy="51115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Office 365 A3</a:t>
            </a:r>
          </a:p>
          <a:p>
            <a:pPr algn="ctr" defTabSz="699354" fontAlgn="base">
              <a:lnSpc>
                <a:spcPct val="90000"/>
              </a:lnSpc>
              <a:spcBef>
                <a:spcPct val="0"/>
              </a:spcBef>
              <a:spcAft>
                <a:spcPct val="0"/>
              </a:spcAft>
              <a:defRPr/>
            </a:pPr>
            <a:r>
              <a:rPr lang="en-US" sz="825" i="1" dirty="0">
                <a:gradFill>
                  <a:gsLst>
                    <a:gs pos="0">
                      <a:srgbClr val="FFFFFF"/>
                    </a:gs>
                    <a:gs pos="100000">
                      <a:srgbClr val="FFFFFF"/>
                    </a:gs>
                  </a:gsLst>
                  <a:lin ang="5400000" scaled="0"/>
                </a:gradFill>
                <a:latin typeface="Segoe UI"/>
                <a:ea typeface="Segoe UI" pitchFamily="34" charset="0"/>
                <a:cs typeface="Segoe UI" pitchFamily="34" charset="0"/>
              </a:rPr>
              <a:t>w/ rights to Office Professional Plus</a:t>
            </a:r>
          </a:p>
        </p:txBody>
      </p:sp>
      <p:sp>
        <p:nvSpPr>
          <p:cNvPr id="21" name="Rectangle 20"/>
          <p:cNvSpPr/>
          <p:nvPr/>
        </p:nvSpPr>
        <p:spPr bwMode="auto">
          <a:xfrm>
            <a:off x="3568959" y="2053537"/>
            <a:ext cx="2166809" cy="4770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Windows E3</a:t>
            </a:r>
          </a:p>
        </p:txBody>
      </p:sp>
      <p:sp>
        <p:nvSpPr>
          <p:cNvPr id="22" name="Rectangle 21"/>
          <p:cNvSpPr/>
          <p:nvPr/>
        </p:nvSpPr>
        <p:spPr bwMode="auto">
          <a:xfrm>
            <a:off x="3568958" y="4074453"/>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Windows CAL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Enterprise)</a:t>
            </a:r>
          </a:p>
        </p:txBody>
      </p:sp>
      <p:sp>
        <p:nvSpPr>
          <p:cNvPr id="23" name="Rectangle 22"/>
          <p:cNvSpPr/>
          <p:nvPr/>
        </p:nvSpPr>
        <p:spPr bwMode="auto">
          <a:xfrm>
            <a:off x="3568958" y="4328661"/>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Productivity CAL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Enterprise)</a:t>
            </a:r>
          </a:p>
        </p:txBody>
      </p:sp>
      <p:sp>
        <p:nvSpPr>
          <p:cNvPr id="24" name="Plus Sign 23"/>
          <p:cNvSpPr/>
          <p:nvPr/>
        </p:nvSpPr>
        <p:spPr bwMode="auto">
          <a:xfrm>
            <a:off x="4581909" y="1879362"/>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lus Sign 24"/>
          <p:cNvSpPr/>
          <p:nvPr/>
        </p:nvSpPr>
        <p:spPr bwMode="auto">
          <a:xfrm>
            <a:off x="4581909" y="3223793"/>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p:cNvSpPr/>
          <p:nvPr/>
        </p:nvSpPr>
        <p:spPr bwMode="auto">
          <a:xfrm>
            <a:off x="3568958" y="4575024"/>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Productivity Server License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Enterprise)</a:t>
            </a:r>
          </a:p>
        </p:txBody>
      </p:sp>
      <p:sp>
        <p:nvSpPr>
          <p:cNvPr id="27" name="Rectangle 26"/>
          <p:cNvSpPr/>
          <p:nvPr/>
        </p:nvSpPr>
        <p:spPr bwMode="auto">
          <a:xfrm>
            <a:off x="3568958" y="2727176"/>
            <a:ext cx="2166809" cy="4770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EMS E3</a:t>
            </a:r>
          </a:p>
        </p:txBody>
      </p:sp>
      <p:sp>
        <p:nvSpPr>
          <p:cNvPr id="28" name="Plus Sign 27"/>
          <p:cNvSpPr/>
          <p:nvPr/>
        </p:nvSpPr>
        <p:spPr bwMode="auto">
          <a:xfrm>
            <a:off x="4581909" y="2550215"/>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Plus Sign 31"/>
          <p:cNvSpPr/>
          <p:nvPr/>
        </p:nvSpPr>
        <p:spPr bwMode="auto">
          <a:xfrm>
            <a:off x="4581909" y="3894582"/>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p:cNvSpPr/>
          <p:nvPr/>
        </p:nvSpPr>
        <p:spPr bwMode="auto">
          <a:xfrm>
            <a:off x="3568958" y="3400815"/>
            <a:ext cx="2166809" cy="47703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Minecraft: Education Edition</a:t>
            </a:r>
          </a:p>
        </p:txBody>
      </p:sp>
      <p:sp>
        <p:nvSpPr>
          <p:cNvPr id="30" name="Arrow: Chevron 29"/>
          <p:cNvSpPr/>
          <p:nvPr/>
        </p:nvSpPr>
        <p:spPr bwMode="auto">
          <a:xfrm>
            <a:off x="3093965" y="777510"/>
            <a:ext cx="167922" cy="431527"/>
          </a:xfrm>
          <a:prstGeom prst="chevron">
            <a:avLst>
              <a:gd name="adj" fmla="val 56372"/>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TextBox 34"/>
          <p:cNvSpPr txBox="1"/>
          <p:nvPr/>
        </p:nvSpPr>
        <p:spPr>
          <a:xfrm>
            <a:off x="6000342" y="891883"/>
            <a:ext cx="2929468" cy="367024"/>
          </a:xfrm>
          <a:prstGeom prst="rect">
            <a:avLst/>
          </a:prstGeom>
          <a:noFill/>
        </p:spPr>
        <p:txBody>
          <a:bodyPr wrap="square" lIns="137160" tIns="109728" rIns="137160" bIns="109728" rtlCol="0">
            <a:spAutoFit/>
          </a:bodyPr>
          <a:lstStyle/>
          <a:p>
            <a:pPr defTabSz="685800">
              <a:lnSpc>
                <a:spcPct val="90000"/>
              </a:lnSpc>
              <a:spcAft>
                <a:spcPts val="450"/>
              </a:spcAft>
              <a:defRPr/>
            </a:pPr>
            <a:r>
              <a:rPr lang="en-US" sz="1050" b="1" i="1" dirty="0">
                <a:gradFill>
                  <a:gsLst>
                    <a:gs pos="2917">
                      <a:srgbClr val="505050"/>
                    </a:gs>
                    <a:gs pos="30000">
                      <a:srgbClr val="505050"/>
                    </a:gs>
                  </a:gsLst>
                  <a:lin ang="5400000" scaled="0"/>
                </a:gradFill>
                <a:latin typeface="Segoe UI"/>
              </a:rPr>
              <a:t>What’s new for CAMSA 2.0 customers?</a:t>
            </a:r>
          </a:p>
        </p:txBody>
      </p:sp>
      <p:sp>
        <p:nvSpPr>
          <p:cNvPr id="31" name="Rectangle 30">
            <a:extLst>
              <a:ext uri="{FF2B5EF4-FFF2-40B4-BE49-F238E27FC236}">
                <a16:creationId xmlns:a16="http://schemas.microsoft.com/office/drawing/2014/main" id="{63F06AB4-04BD-4234-9DE1-7A03C0CF8CBE}"/>
              </a:ext>
            </a:extLst>
          </p:cNvPr>
          <p:cNvSpPr/>
          <p:nvPr/>
        </p:nvSpPr>
        <p:spPr bwMode="auto">
          <a:xfrm>
            <a:off x="6085449" y="1300051"/>
            <a:ext cx="2856985" cy="3461706"/>
          </a:xfrm>
          <a:prstGeom prst="rect">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24" tIns="109700" rIns="137124" bIns="109700" numCol="1" spcCol="0" rtlCol="0" fromWordArt="0" anchor="t" anchorCtr="0" forceAA="0" compatLnSpc="1">
            <a:prstTxWarp prst="textNoShape">
              <a:avLst/>
            </a:prstTxWarp>
            <a:noAutofit/>
          </a:bodyPr>
          <a:lstStyle>
            <a:defPPr>
              <a:defRPr lang="en-US"/>
            </a:defPPr>
            <a:lvl1pPr marL="0" algn="l" defTabSz="932513" rtl="0" eaLnBrk="1" latinLnBrk="0" hangingPunct="1">
              <a:defRPr sz="1836" kern="1200">
                <a:solidFill>
                  <a:schemeClr val="lt1"/>
                </a:solidFill>
                <a:latin typeface="+mn-lt"/>
                <a:ea typeface="+mn-ea"/>
                <a:cs typeface="+mn-cs"/>
              </a:defRPr>
            </a:lvl1pPr>
            <a:lvl2pPr marL="466256" algn="l" defTabSz="932513" rtl="0" eaLnBrk="1" latinLnBrk="0" hangingPunct="1">
              <a:defRPr sz="1836" kern="1200">
                <a:solidFill>
                  <a:schemeClr val="lt1"/>
                </a:solidFill>
                <a:latin typeface="+mn-lt"/>
                <a:ea typeface="+mn-ea"/>
                <a:cs typeface="+mn-cs"/>
              </a:defRPr>
            </a:lvl2pPr>
            <a:lvl3pPr marL="932513" algn="l" defTabSz="932513" rtl="0" eaLnBrk="1" latinLnBrk="0" hangingPunct="1">
              <a:defRPr sz="1836" kern="1200">
                <a:solidFill>
                  <a:schemeClr val="lt1"/>
                </a:solidFill>
                <a:latin typeface="+mn-lt"/>
                <a:ea typeface="+mn-ea"/>
                <a:cs typeface="+mn-cs"/>
              </a:defRPr>
            </a:lvl3pPr>
            <a:lvl4pPr marL="1398769" algn="l" defTabSz="932513" rtl="0" eaLnBrk="1" latinLnBrk="0" hangingPunct="1">
              <a:defRPr sz="1836" kern="1200">
                <a:solidFill>
                  <a:schemeClr val="lt1"/>
                </a:solidFill>
                <a:latin typeface="+mn-lt"/>
                <a:ea typeface="+mn-ea"/>
                <a:cs typeface="+mn-cs"/>
              </a:defRPr>
            </a:lvl4pPr>
            <a:lvl5pPr marL="1865026" algn="l" defTabSz="932513" rtl="0" eaLnBrk="1" latinLnBrk="0" hangingPunct="1">
              <a:defRPr sz="1836" kern="1200">
                <a:solidFill>
                  <a:schemeClr val="lt1"/>
                </a:solidFill>
                <a:latin typeface="+mn-lt"/>
                <a:ea typeface="+mn-ea"/>
                <a:cs typeface="+mn-cs"/>
              </a:defRPr>
            </a:lvl5pPr>
            <a:lvl6pPr marL="2331281" algn="l" defTabSz="932513" rtl="0" eaLnBrk="1" latinLnBrk="0" hangingPunct="1">
              <a:defRPr sz="1836" kern="1200">
                <a:solidFill>
                  <a:schemeClr val="lt1"/>
                </a:solidFill>
                <a:latin typeface="+mn-lt"/>
                <a:ea typeface="+mn-ea"/>
                <a:cs typeface="+mn-cs"/>
              </a:defRPr>
            </a:lvl6pPr>
            <a:lvl7pPr marL="2797538" algn="l" defTabSz="932513" rtl="0" eaLnBrk="1" latinLnBrk="0" hangingPunct="1">
              <a:defRPr sz="1836" kern="1200">
                <a:solidFill>
                  <a:schemeClr val="lt1"/>
                </a:solidFill>
                <a:latin typeface="+mn-lt"/>
                <a:ea typeface="+mn-ea"/>
                <a:cs typeface="+mn-cs"/>
              </a:defRPr>
            </a:lvl7pPr>
            <a:lvl8pPr marL="3263794" algn="l" defTabSz="932513" rtl="0" eaLnBrk="1" latinLnBrk="0" hangingPunct="1">
              <a:defRPr sz="1836" kern="1200">
                <a:solidFill>
                  <a:schemeClr val="lt1"/>
                </a:solidFill>
                <a:latin typeface="+mn-lt"/>
                <a:ea typeface="+mn-ea"/>
                <a:cs typeface="+mn-cs"/>
              </a:defRPr>
            </a:lvl8pPr>
            <a:lvl9pPr marL="3730050" algn="l" defTabSz="932513" rtl="0" eaLnBrk="1" latinLnBrk="0" hangingPunct="1">
              <a:defRPr sz="1836" kern="1200">
                <a:solidFill>
                  <a:schemeClr val="lt1"/>
                </a:solidFill>
                <a:latin typeface="+mn-lt"/>
                <a:ea typeface="+mn-ea"/>
                <a:cs typeface="+mn-cs"/>
              </a:defRPr>
            </a:lvl9pPr>
          </a:lstStyle>
          <a:p>
            <a:pPr defTabSz="699385">
              <a:spcBef>
                <a:spcPts val="900"/>
              </a:spcBef>
            </a:pPr>
            <a:r>
              <a:rPr lang="en-US" sz="1050" dirty="0">
                <a:gradFill>
                  <a:gsLst>
                    <a:gs pos="2917">
                      <a:srgbClr val="000000"/>
                    </a:gs>
                    <a:gs pos="30000">
                      <a:srgbClr val="000000"/>
                    </a:gs>
                  </a:gsLst>
                  <a:lin ang="5400000" scaled="0"/>
                </a:gradFill>
                <a:latin typeface="Segoe UI Semibold"/>
              </a:rPr>
              <a:t>Office 365</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dvanced Security Management</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Live Meeting Broadcast</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Bookings </a:t>
            </a:r>
          </a:p>
          <a:p>
            <a:pPr defTabSz="699385">
              <a:spcBef>
                <a:spcPts val="900"/>
              </a:spcBef>
            </a:pPr>
            <a:r>
              <a:rPr lang="en-US" sz="1050" dirty="0">
                <a:gradFill>
                  <a:gsLst>
                    <a:gs pos="2917">
                      <a:srgbClr val="000000"/>
                    </a:gs>
                    <a:gs pos="30000">
                      <a:srgbClr val="000000"/>
                    </a:gs>
                  </a:gsLst>
                  <a:lin ang="5400000" scaled="0"/>
                </a:gradFill>
                <a:latin typeface="Segoe UI Semibold"/>
              </a:rPr>
              <a:t>Enterprise Mobility + Security</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Intune for Education</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zure Active Directory Premium P1</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zure Information Protection Premium P1</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dvanced Threat Analytics</a:t>
            </a:r>
          </a:p>
          <a:p>
            <a:pPr defTabSz="699385">
              <a:spcBef>
                <a:spcPts val="900"/>
              </a:spcBef>
            </a:pPr>
            <a:endParaRPr lang="en-US" sz="1050" dirty="0">
              <a:gradFill>
                <a:gsLst>
                  <a:gs pos="2917">
                    <a:srgbClr val="000000"/>
                  </a:gs>
                  <a:gs pos="30000">
                    <a:srgbClr val="000000"/>
                  </a:gs>
                </a:gsLst>
                <a:lin ang="5400000" scaled="0"/>
              </a:gradFill>
              <a:latin typeface="Segoe UI Semibold"/>
            </a:endParaRPr>
          </a:p>
          <a:p>
            <a:pPr defTabSz="699385">
              <a:spcBef>
                <a:spcPts val="900"/>
              </a:spcBef>
            </a:pPr>
            <a:r>
              <a:rPr lang="en-US" sz="1050" dirty="0">
                <a:gradFill>
                  <a:gsLst>
                    <a:gs pos="2917">
                      <a:srgbClr val="000000"/>
                    </a:gs>
                    <a:gs pos="30000">
                      <a:srgbClr val="000000"/>
                    </a:gs>
                  </a:gsLst>
                  <a:lin ang="5400000" scaled="0"/>
                </a:gradFill>
                <a:latin typeface="Segoe UI Semibold"/>
              </a:rPr>
              <a:t>Minecraft: Education Edition</a:t>
            </a:r>
          </a:p>
          <a:p>
            <a:pPr defTabSz="699385">
              <a:spcBef>
                <a:spcPts val="900"/>
              </a:spcBef>
            </a:pPr>
            <a:endParaRPr lang="en-US" sz="1050" dirty="0">
              <a:gradFill>
                <a:gsLst>
                  <a:gs pos="2917">
                    <a:srgbClr val="000000"/>
                  </a:gs>
                  <a:gs pos="30000">
                    <a:srgbClr val="000000"/>
                  </a:gs>
                </a:gsLst>
                <a:lin ang="5400000" scaled="0"/>
              </a:gradFill>
              <a:latin typeface="Segoe UI Semibold"/>
            </a:endParaRPr>
          </a:p>
          <a:p>
            <a:pPr defTabSz="699385">
              <a:spcBef>
                <a:spcPts val="900"/>
              </a:spcBef>
            </a:pPr>
            <a:r>
              <a:rPr lang="en-US" sz="1050" dirty="0">
                <a:gradFill>
                  <a:gsLst>
                    <a:gs pos="2917">
                      <a:srgbClr val="000000"/>
                    </a:gs>
                    <a:gs pos="30000">
                      <a:srgbClr val="000000"/>
                    </a:gs>
                  </a:gsLst>
                  <a:lin ang="5400000" scaled="0"/>
                </a:gradFill>
                <a:latin typeface="Segoe UI Semibold"/>
              </a:rPr>
              <a:t>Client Access and Server Licenses</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ll customers get Productivity Server licenses</a:t>
            </a:r>
          </a:p>
        </p:txBody>
      </p:sp>
      <p:pic>
        <p:nvPicPr>
          <p:cNvPr id="2" name="Picture 1"/>
          <p:cNvPicPr>
            <a:picLocks noChangeAspect="1"/>
          </p:cNvPicPr>
          <p:nvPr/>
        </p:nvPicPr>
        <p:blipFill>
          <a:blip r:embed="rId4"/>
          <a:stretch>
            <a:fillRect/>
          </a:stretch>
        </p:blipFill>
        <p:spPr>
          <a:xfrm>
            <a:off x="0" y="0"/>
            <a:ext cx="9144000" cy="5141385"/>
          </a:xfrm>
          <a:prstGeom prst="rect">
            <a:avLst/>
          </a:prstGeom>
        </p:spPr>
      </p:pic>
    </p:spTree>
    <p:custDataLst>
      <p:tags r:id="rId1"/>
    </p:custDataLst>
    <p:extLst>
      <p:ext uri="{BB962C8B-B14F-4D97-AF65-F5344CB8AC3E}">
        <p14:creationId xmlns:p14="http://schemas.microsoft.com/office/powerpoint/2010/main" val="105332802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800" dirty="0">
                <a:solidFill>
                  <a:schemeClr val="tx1">
                    <a:lumMod val="60000"/>
                    <a:lumOff val="40000"/>
                  </a:schemeClr>
                </a:solidFill>
              </a:rPr>
              <a:t>Then:</a:t>
            </a:r>
            <a:r>
              <a:rPr lang="en-US" dirty="0"/>
              <a:t> Education Desktop </a:t>
            </a:r>
            <a:r>
              <a:rPr lang="en-US" sz="1800" dirty="0">
                <a:solidFill>
                  <a:schemeClr val="tx1">
                    <a:lumMod val="60000"/>
                    <a:lumOff val="40000"/>
                  </a:schemeClr>
                </a:solidFill>
              </a:rPr>
              <a:t>and now: </a:t>
            </a:r>
            <a:r>
              <a:rPr lang="en-US" dirty="0"/>
              <a:t>Microsoft 365 Education </a:t>
            </a:r>
          </a:p>
        </p:txBody>
      </p:sp>
      <p:sp>
        <p:nvSpPr>
          <p:cNvPr id="9" name="Rectangle 8"/>
          <p:cNvSpPr/>
          <p:nvPr/>
        </p:nvSpPr>
        <p:spPr bwMode="auto">
          <a:xfrm>
            <a:off x="553495" y="799848"/>
            <a:ext cx="2374009" cy="376281"/>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109700" rIns="137124" bIns="109700" numCol="1" spcCol="0" rtlCol="0" fromWordArt="0" anchor="ctr" anchorCtr="0" forceAA="0" compatLnSpc="1">
            <a:prstTxWarp prst="textNoShape">
              <a:avLst/>
            </a:prstTxWarp>
            <a:noAutofit/>
          </a:bodyPr>
          <a:lstStyle/>
          <a:p>
            <a:pPr algn="ctr" defTabSz="699144" fontAlgn="base">
              <a:lnSpc>
                <a:spcPct val="90000"/>
              </a:lnSpc>
              <a:spcBef>
                <a:spcPct val="0"/>
              </a:spcBef>
              <a:spcAft>
                <a:spcPct val="0"/>
              </a:spcAft>
              <a:defRPr/>
            </a:pPr>
            <a:r>
              <a:rPr lang="en-US" sz="1500" b="1" kern="0" dirty="0">
                <a:solidFill>
                  <a:srgbClr val="0078D7"/>
                </a:solidFill>
                <a:latin typeface="Segoe UI"/>
                <a:ea typeface="Segoe UI" pitchFamily="34" charset="0"/>
                <a:cs typeface="Segoe UI" pitchFamily="34" charset="0"/>
              </a:rPr>
              <a:t>Education Desktop</a:t>
            </a:r>
            <a:endParaRPr lang="en-US" sz="1500" b="1" kern="0" baseline="30000" dirty="0">
              <a:solidFill>
                <a:srgbClr val="0078D7"/>
              </a:solidFill>
              <a:latin typeface="Segoe UI"/>
              <a:ea typeface="Segoe UI" pitchFamily="34" charset="0"/>
              <a:cs typeface="Segoe UI" pitchFamily="34" charset="0"/>
            </a:endParaRPr>
          </a:p>
        </p:txBody>
      </p:sp>
      <p:sp>
        <p:nvSpPr>
          <p:cNvPr id="11" name="Rectangle 10"/>
          <p:cNvSpPr/>
          <p:nvPr/>
        </p:nvSpPr>
        <p:spPr bwMode="auto">
          <a:xfrm>
            <a:off x="3444110" y="799848"/>
            <a:ext cx="2374009" cy="376281"/>
          </a:xfrm>
          <a:prstGeom prst="rect">
            <a:avLst/>
          </a:prstGeom>
          <a:solidFill>
            <a:schemeClr val="bg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109700" rIns="137124" bIns="109700" numCol="1" spcCol="0" rtlCol="0" fromWordArt="0" anchor="ctr" anchorCtr="0" forceAA="0" compatLnSpc="1">
            <a:prstTxWarp prst="textNoShape">
              <a:avLst/>
            </a:prstTxWarp>
            <a:noAutofit/>
          </a:bodyPr>
          <a:lstStyle/>
          <a:p>
            <a:pPr algn="ctr" defTabSz="699144" fontAlgn="base">
              <a:lnSpc>
                <a:spcPct val="90000"/>
              </a:lnSpc>
              <a:spcBef>
                <a:spcPct val="0"/>
              </a:spcBef>
              <a:spcAft>
                <a:spcPct val="0"/>
              </a:spcAft>
              <a:defRPr/>
            </a:pPr>
            <a:r>
              <a:rPr lang="en-US" sz="1500" b="1" kern="0" dirty="0">
                <a:solidFill>
                  <a:srgbClr val="0078D7"/>
                </a:solidFill>
                <a:latin typeface="Segoe UI"/>
                <a:ea typeface="Segoe UI" pitchFamily="34" charset="0"/>
                <a:cs typeface="Segoe UI" pitchFamily="34" charset="0"/>
              </a:rPr>
              <a:t>Microsoft 365 A3</a:t>
            </a:r>
            <a:endParaRPr lang="en-US" sz="1500" b="1" kern="0" baseline="30000" dirty="0">
              <a:solidFill>
                <a:srgbClr val="0078D7"/>
              </a:solidFill>
              <a:latin typeface="Segoe UI"/>
              <a:ea typeface="Segoe UI" pitchFamily="34" charset="0"/>
              <a:cs typeface="Segoe UI" pitchFamily="34" charset="0"/>
            </a:endParaRPr>
          </a:p>
        </p:txBody>
      </p:sp>
      <p:sp>
        <p:nvSpPr>
          <p:cNvPr id="13" name="Rectangle 12"/>
          <p:cNvSpPr/>
          <p:nvPr/>
        </p:nvSpPr>
        <p:spPr bwMode="auto">
          <a:xfrm>
            <a:off x="668080" y="1345779"/>
            <a:ext cx="2166809" cy="305992"/>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Office Professional Plus</a:t>
            </a:r>
          </a:p>
          <a:p>
            <a:pPr algn="ctr" defTabSz="699354" fontAlgn="base">
              <a:lnSpc>
                <a:spcPct val="90000"/>
              </a:lnSpc>
              <a:spcBef>
                <a:spcPct val="0"/>
              </a:spcBef>
              <a:spcAft>
                <a:spcPct val="0"/>
              </a:spcAft>
              <a:defRPr/>
            </a:pPr>
            <a:r>
              <a:rPr lang="en-US" sz="825" i="1" dirty="0">
                <a:gradFill>
                  <a:gsLst>
                    <a:gs pos="0">
                      <a:srgbClr val="FFFFFF"/>
                    </a:gs>
                    <a:gs pos="100000">
                      <a:srgbClr val="FFFFFF"/>
                    </a:gs>
                  </a:gsLst>
                  <a:lin ang="5400000" scaled="0"/>
                </a:gradFill>
                <a:latin typeface="Segoe UI"/>
                <a:ea typeface="Segoe UI" pitchFamily="34" charset="0"/>
                <a:cs typeface="Segoe UI" pitchFamily="34" charset="0"/>
              </a:rPr>
              <a:t>w/ rights to Office 365 ProPlus</a:t>
            </a:r>
          </a:p>
        </p:txBody>
      </p:sp>
      <p:sp>
        <p:nvSpPr>
          <p:cNvPr id="14" name="Rectangle 13"/>
          <p:cNvSpPr/>
          <p:nvPr/>
        </p:nvSpPr>
        <p:spPr bwMode="auto">
          <a:xfrm>
            <a:off x="668080" y="2053537"/>
            <a:ext cx="2166809" cy="4770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Windows SA</a:t>
            </a:r>
          </a:p>
        </p:txBody>
      </p:sp>
      <p:sp>
        <p:nvSpPr>
          <p:cNvPr id="15" name="Rectangle 14"/>
          <p:cNvSpPr/>
          <p:nvPr/>
        </p:nvSpPr>
        <p:spPr bwMode="auto">
          <a:xfrm>
            <a:off x="668080" y="4074453"/>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Windows CAL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Core or Enterprise)</a:t>
            </a:r>
          </a:p>
        </p:txBody>
      </p:sp>
      <p:sp>
        <p:nvSpPr>
          <p:cNvPr id="17" name="Rectangle 16"/>
          <p:cNvSpPr/>
          <p:nvPr/>
        </p:nvSpPr>
        <p:spPr bwMode="auto">
          <a:xfrm>
            <a:off x="668080" y="4328661"/>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Productivity CAL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Core or Enterprise)</a:t>
            </a:r>
          </a:p>
        </p:txBody>
      </p:sp>
      <p:sp>
        <p:nvSpPr>
          <p:cNvPr id="18" name="Plus Sign 17"/>
          <p:cNvSpPr/>
          <p:nvPr/>
        </p:nvSpPr>
        <p:spPr bwMode="auto">
          <a:xfrm>
            <a:off x="1656987" y="1773996"/>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Plus Sign 18"/>
          <p:cNvSpPr/>
          <p:nvPr/>
        </p:nvSpPr>
        <p:spPr bwMode="auto">
          <a:xfrm>
            <a:off x="1656987" y="3223793"/>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bwMode="auto">
          <a:xfrm>
            <a:off x="3568958" y="1345780"/>
            <a:ext cx="2166809" cy="51115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Office 365 A3</a:t>
            </a:r>
          </a:p>
          <a:p>
            <a:pPr algn="ctr" defTabSz="699354" fontAlgn="base">
              <a:lnSpc>
                <a:spcPct val="90000"/>
              </a:lnSpc>
              <a:spcBef>
                <a:spcPct val="0"/>
              </a:spcBef>
              <a:spcAft>
                <a:spcPct val="0"/>
              </a:spcAft>
              <a:defRPr/>
            </a:pPr>
            <a:r>
              <a:rPr lang="en-US" sz="825" i="1" dirty="0">
                <a:gradFill>
                  <a:gsLst>
                    <a:gs pos="0">
                      <a:srgbClr val="FFFFFF"/>
                    </a:gs>
                    <a:gs pos="100000">
                      <a:srgbClr val="FFFFFF"/>
                    </a:gs>
                  </a:gsLst>
                  <a:lin ang="5400000" scaled="0"/>
                </a:gradFill>
                <a:latin typeface="Segoe UI"/>
                <a:ea typeface="Segoe UI" pitchFamily="34" charset="0"/>
                <a:cs typeface="Segoe UI" pitchFamily="34" charset="0"/>
              </a:rPr>
              <a:t>w/ rights to Office Professional Plus</a:t>
            </a:r>
          </a:p>
        </p:txBody>
      </p:sp>
      <p:sp>
        <p:nvSpPr>
          <p:cNvPr id="21" name="Rectangle 20"/>
          <p:cNvSpPr/>
          <p:nvPr/>
        </p:nvSpPr>
        <p:spPr bwMode="auto">
          <a:xfrm>
            <a:off x="3568959" y="2053537"/>
            <a:ext cx="2166809" cy="4770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Windows E3</a:t>
            </a:r>
          </a:p>
        </p:txBody>
      </p:sp>
      <p:sp>
        <p:nvSpPr>
          <p:cNvPr id="22" name="Rectangle 21"/>
          <p:cNvSpPr/>
          <p:nvPr/>
        </p:nvSpPr>
        <p:spPr bwMode="auto">
          <a:xfrm>
            <a:off x="3568958" y="4074453"/>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Windows CAL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Enterprise)</a:t>
            </a:r>
          </a:p>
        </p:txBody>
      </p:sp>
      <p:sp>
        <p:nvSpPr>
          <p:cNvPr id="23" name="Rectangle 22"/>
          <p:cNvSpPr/>
          <p:nvPr/>
        </p:nvSpPr>
        <p:spPr bwMode="auto">
          <a:xfrm>
            <a:off x="3568958" y="4328661"/>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Productivity CAL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Enterprise)</a:t>
            </a:r>
          </a:p>
        </p:txBody>
      </p:sp>
      <p:sp>
        <p:nvSpPr>
          <p:cNvPr id="24" name="Plus Sign 23"/>
          <p:cNvSpPr/>
          <p:nvPr/>
        </p:nvSpPr>
        <p:spPr bwMode="auto">
          <a:xfrm>
            <a:off x="4581909" y="1879362"/>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Plus Sign 24"/>
          <p:cNvSpPr/>
          <p:nvPr/>
        </p:nvSpPr>
        <p:spPr bwMode="auto">
          <a:xfrm>
            <a:off x="4581909" y="3223793"/>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p:cNvSpPr/>
          <p:nvPr/>
        </p:nvSpPr>
        <p:spPr bwMode="auto">
          <a:xfrm>
            <a:off x="3568958" y="4575024"/>
            <a:ext cx="2166809" cy="186733"/>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900" b="1" dirty="0">
                <a:gradFill>
                  <a:gsLst>
                    <a:gs pos="0">
                      <a:srgbClr val="FFFFFF"/>
                    </a:gs>
                    <a:gs pos="100000">
                      <a:srgbClr val="FFFFFF"/>
                    </a:gs>
                  </a:gsLst>
                  <a:lin ang="5400000" scaled="0"/>
                </a:gradFill>
                <a:latin typeface="Segoe UI"/>
                <a:ea typeface="Segoe UI" pitchFamily="34" charset="0"/>
                <a:cs typeface="Segoe UI" pitchFamily="34" charset="0"/>
              </a:rPr>
              <a:t>Productivity Server Licenses </a:t>
            </a:r>
            <a:r>
              <a:rPr lang="en-US" sz="788" i="1" dirty="0">
                <a:gradFill>
                  <a:gsLst>
                    <a:gs pos="0">
                      <a:srgbClr val="FFFFFF"/>
                    </a:gs>
                    <a:gs pos="100000">
                      <a:srgbClr val="FFFFFF"/>
                    </a:gs>
                  </a:gsLst>
                  <a:lin ang="5400000" scaled="0"/>
                </a:gradFill>
                <a:latin typeface="Segoe UI"/>
                <a:ea typeface="Segoe UI" pitchFamily="34" charset="0"/>
                <a:cs typeface="Segoe UI" pitchFamily="34" charset="0"/>
              </a:rPr>
              <a:t>(Enterprise)</a:t>
            </a:r>
          </a:p>
        </p:txBody>
      </p:sp>
      <p:sp>
        <p:nvSpPr>
          <p:cNvPr id="27" name="Rectangle 26"/>
          <p:cNvSpPr/>
          <p:nvPr/>
        </p:nvSpPr>
        <p:spPr bwMode="auto">
          <a:xfrm>
            <a:off x="3568958" y="2727176"/>
            <a:ext cx="2166809" cy="4770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EMS E3</a:t>
            </a:r>
          </a:p>
        </p:txBody>
      </p:sp>
      <p:sp>
        <p:nvSpPr>
          <p:cNvPr id="28" name="Plus Sign 27"/>
          <p:cNvSpPr/>
          <p:nvPr/>
        </p:nvSpPr>
        <p:spPr bwMode="auto">
          <a:xfrm>
            <a:off x="4581909" y="2550215"/>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sz="15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Plus Sign 31"/>
          <p:cNvSpPr/>
          <p:nvPr/>
        </p:nvSpPr>
        <p:spPr bwMode="auto">
          <a:xfrm>
            <a:off x="4581909" y="3894582"/>
            <a:ext cx="162782" cy="159264"/>
          </a:xfrm>
          <a:prstGeom prst="mathPlus">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Rectangle 32"/>
          <p:cNvSpPr/>
          <p:nvPr/>
        </p:nvSpPr>
        <p:spPr bwMode="auto">
          <a:xfrm>
            <a:off x="3568958" y="3400815"/>
            <a:ext cx="2166809" cy="47703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109728" rIns="68580" bIns="109728" numCol="1" spcCol="0" rtlCol="0" fromWordArt="0" anchor="ctr" anchorCtr="0" forceAA="0" compatLnSpc="1">
            <a:prstTxWarp prst="textNoShape">
              <a:avLst/>
            </a:prstTxWarp>
            <a:noAutofit/>
          </a:bodyPr>
          <a:lstStyle/>
          <a:p>
            <a:pPr algn="ctr" defTabSz="699354" fontAlgn="base">
              <a:lnSpc>
                <a:spcPct val="90000"/>
              </a:lnSpc>
              <a:spcBef>
                <a:spcPct val="0"/>
              </a:spcBef>
              <a:spcAft>
                <a:spcPct val="0"/>
              </a:spcAft>
              <a:defRPr/>
            </a:pPr>
            <a:r>
              <a:rPr lang="en-US" sz="1050" b="1" dirty="0">
                <a:gradFill>
                  <a:gsLst>
                    <a:gs pos="0">
                      <a:srgbClr val="FFFFFF"/>
                    </a:gs>
                    <a:gs pos="100000">
                      <a:srgbClr val="FFFFFF"/>
                    </a:gs>
                  </a:gsLst>
                  <a:lin ang="5400000" scaled="0"/>
                </a:gradFill>
                <a:latin typeface="Segoe UI"/>
                <a:ea typeface="Segoe UI" pitchFamily="34" charset="0"/>
                <a:cs typeface="Segoe UI" pitchFamily="34" charset="0"/>
              </a:rPr>
              <a:t>Minecraft: Education Edition</a:t>
            </a:r>
          </a:p>
        </p:txBody>
      </p:sp>
      <p:sp>
        <p:nvSpPr>
          <p:cNvPr id="30" name="Arrow: Chevron 29"/>
          <p:cNvSpPr/>
          <p:nvPr/>
        </p:nvSpPr>
        <p:spPr bwMode="auto">
          <a:xfrm>
            <a:off x="3093965" y="777510"/>
            <a:ext cx="167922" cy="431527"/>
          </a:xfrm>
          <a:prstGeom prst="chevron">
            <a:avLst>
              <a:gd name="adj" fmla="val 56372"/>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TextBox 34"/>
          <p:cNvSpPr txBox="1"/>
          <p:nvPr/>
        </p:nvSpPr>
        <p:spPr>
          <a:xfrm>
            <a:off x="6000342" y="891883"/>
            <a:ext cx="2929468" cy="367024"/>
          </a:xfrm>
          <a:prstGeom prst="rect">
            <a:avLst/>
          </a:prstGeom>
          <a:noFill/>
        </p:spPr>
        <p:txBody>
          <a:bodyPr wrap="square" lIns="137160" tIns="109728" rIns="137160" bIns="109728" rtlCol="0">
            <a:spAutoFit/>
          </a:bodyPr>
          <a:lstStyle/>
          <a:p>
            <a:pPr defTabSz="685800">
              <a:lnSpc>
                <a:spcPct val="90000"/>
              </a:lnSpc>
              <a:spcAft>
                <a:spcPts val="450"/>
              </a:spcAft>
              <a:defRPr/>
            </a:pPr>
            <a:r>
              <a:rPr lang="en-US" sz="1050" b="1" i="1" dirty="0">
                <a:gradFill>
                  <a:gsLst>
                    <a:gs pos="2917">
                      <a:srgbClr val="505050"/>
                    </a:gs>
                    <a:gs pos="30000">
                      <a:srgbClr val="505050"/>
                    </a:gs>
                  </a:gsLst>
                  <a:lin ang="5400000" scaled="0"/>
                </a:gradFill>
                <a:latin typeface="Segoe UI"/>
              </a:rPr>
              <a:t>What’s new for CAMSA 2.0 customers?</a:t>
            </a:r>
          </a:p>
        </p:txBody>
      </p:sp>
      <p:sp>
        <p:nvSpPr>
          <p:cNvPr id="31" name="Rectangle 30">
            <a:extLst>
              <a:ext uri="{FF2B5EF4-FFF2-40B4-BE49-F238E27FC236}">
                <a16:creationId xmlns:a16="http://schemas.microsoft.com/office/drawing/2014/main" id="{63F06AB4-04BD-4234-9DE1-7A03C0CF8CBE}"/>
              </a:ext>
            </a:extLst>
          </p:cNvPr>
          <p:cNvSpPr/>
          <p:nvPr/>
        </p:nvSpPr>
        <p:spPr bwMode="auto">
          <a:xfrm>
            <a:off x="6085449" y="1300051"/>
            <a:ext cx="2856985" cy="3461706"/>
          </a:xfrm>
          <a:prstGeom prst="rect">
            <a:avLst/>
          </a:prstGeom>
          <a:no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7124" tIns="109700" rIns="137124" bIns="109700" numCol="1" spcCol="0" rtlCol="0" fromWordArt="0" anchor="t" anchorCtr="0" forceAA="0" compatLnSpc="1">
            <a:prstTxWarp prst="textNoShape">
              <a:avLst/>
            </a:prstTxWarp>
            <a:noAutofit/>
          </a:bodyPr>
          <a:lstStyle>
            <a:defPPr>
              <a:defRPr lang="en-US"/>
            </a:defPPr>
            <a:lvl1pPr marL="0" algn="l" defTabSz="932513" rtl="0" eaLnBrk="1" latinLnBrk="0" hangingPunct="1">
              <a:defRPr sz="1836" kern="1200">
                <a:solidFill>
                  <a:schemeClr val="lt1"/>
                </a:solidFill>
                <a:latin typeface="+mn-lt"/>
                <a:ea typeface="+mn-ea"/>
                <a:cs typeface="+mn-cs"/>
              </a:defRPr>
            </a:lvl1pPr>
            <a:lvl2pPr marL="466256" algn="l" defTabSz="932513" rtl="0" eaLnBrk="1" latinLnBrk="0" hangingPunct="1">
              <a:defRPr sz="1836" kern="1200">
                <a:solidFill>
                  <a:schemeClr val="lt1"/>
                </a:solidFill>
                <a:latin typeface="+mn-lt"/>
                <a:ea typeface="+mn-ea"/>
                <a:cs typeface="+mn-cs"/>
              </a:defRPr>
            </a:lvl2pPr>
            <a:lvl3pPr marL="932513" algn="l" defTabSz="932513" rtl="0" eaLnBrk="1" latinLnBrk="0" hangingPunct="1">
              <a:defRPr sz="1836" kern="1200">
                <a:solidFill>
                  <a:schemeClr val="lt1"/>
                </a:solidFill>
                <a:latin typeface="+mn-lt"/>
                <a:ea typeface="+mn-ea"/>
                <a:cs typeface="+mn-cs"/>
              </a:defRPr>
            </a:lvl3pPr>
            <a:lvl4pPr marL="1398769" algn="l" defTabSz="932513" rtl="0" eaLnBrk="1" latinLnBrk="0" hangingPunct="1">
              <a:defRPr sz="1836" kern="1200">
                <a:solidFill>
                  <a:schemeClr val="lt1"/>
                </a:solidFill>
                <a:latin typeface="+mn-lt"/>
                <a:ea typeface="+mn-ea"/>
                <a:cs typeface="+mn-cs"/>
              </a:defRPr>
            </a:lvl4pPr>
            <a:lvl5pPr marL="1865026" algn="l" defTabSz="932513" rtl="0" eaLnBrk="1" latinLnBrk="0" hangingPunct="1">
              <a:defRPr sz="1836" kern="1200">
                <a:solidFill>
                  <a:schemeClr val="lt1"/>
                </a:solidFill>
                <a:latin typeface="+mn-lt"/>
                <a:ea typeface="+mn-ea"/>
                <a:cs typeface="+mn-cs"/>
              </a:defRPr>
            </a:lvl5pPr>
            <a:lvl6pPr marL="2331281" algn="l" defTabSz="932513" rtl="0" eaLnBrk="1" latinLnBrk="0" hangingPunct="1">
              <a:defRPr sz="1836" kern="1200">
                <a:solidFill>
                  <a:schemeClr val="lt1"/>
                </a:solidFill>
                <a:latin typeface="+mn-lt"/>
                <a:ea typeface="+mn-ea"/>
                <a:cs typeface="+mn-cs"/>
              </a:defRPr>
            </a:lvl6pPr>
            <a:lvl7pPr marL="2797538" algn="l" defTabSz="932513" rtl="0" eaLnBrk="1" latinLnBrk="0" hangingPunct="1">
              <a:defRPr sz="1836" kern="1200">
                <a:solidFill>
                  <a:schemeClr val="lt1"/>
                </a:solidFill>
                <a:latin typeface="+mn-lt"/>
                <a:ea typeface="+mn-ea"/>
                <a:cs typeface="+mn-cs"/>
              </a:defRPr>
            </a:lvl7pPr>
            <a:lvl8pPr marL="3263794" algn="l" defTabSz="932513" rtl="0" eaLnBrk="1" latinLnBrk="0" hangingPunct="1">
              <a:defRPr sz="1836" kern="1200">
                <a:solidFill>
                  <a:schemeClr val="lt1"/>
                </a:solidFill>
                <a:latin typeface="+mn-lt"/>
                <a:ea typeface="+mn-ea"/>
                <a:cs typeface="+mn-cs"/>
              </a:defRPr>
            </a:lvl8pPr>
            <a:lvl9pPr marL="3730050" algn="l" defTabSz="932513" rtl="0" eaLnBrk="1" latinLnBrk="0" hangingPunct="1">
              <a:defRPr sz="1836" kern="1200">
                <a:solidFill>
                  <a:schemeClr val="lt1"/>
                </a:solidFill>
                <a:latin typeface="+mn-lt"/>
                <a:ea typeface="+mn-ea"/>
                <a:cs typeface="+mn-cs"/>
              </a:defRPr>
            </a:lvl9pPr>
          </a:lstStyle>
          <a:p>
            <a:pPr defTabSz="699385">
              <a:spcBef>
                <a:spcPts val="900"/>
              </a:spcBef>
            </a:pPr>
            <a:r>
              <a:rPr lang="en-US" sz="1050" dirty="0">
                <a:gradFill>
                  <a:gsLst>
                    <a:gs pos="2917">
                      <a:srgbClr val="000000"/>
                    </a:gs>
                    <a:gs pos="30000">
                      <a:srgbClr val="000000"/>
                    </a:gs>
                  </a:gsLst>
                  <a:lin ang="5400000" scaled="0"/>
                </a:gradFill>
                <a:latin typeface="Segoe UI Semibold"/>
              </a:rPr>
              <a:t>Office 365</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dvanced Security Management</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Live Meeting Broadcast</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Bookings </a:t>
            </a:r>
          </a:p>
          <a:p>
            <a:pPr defTabSz="699385">
              <a:spcBef>
                <a:spcPts val="900"/>
              </a:spcBef>
            </a:pPr>
            <a:r>
              <a:rPr lang="en-US" sz="1050" dirty="0">
                <a:gradFill>
                  <a:gsLst>
                    <a:gs pos="2917">
                      <a:srgbClr val="000000"/>
                    </a:gs>
                    <a:gs pos="30000">
                      <a:srgbClr val="000000"/>
                    </a:gs>
                  </a:gsLst>
                  <a:lin ang="5400000" scaled="0"/>
                </a:gradFill>
                <a:latin typeface="Segoe UI Semibold"/>
              </a:rPr>
              <a:t>Enterprise Mobility + Security</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Intune for Education</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zure Active Directory Premium P1</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zure Information Protection Premium P1</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dvanced Threat Analytics</a:t>
            </a:r>
          </a:p>
          <a:p>
            <a:pPr defTabSz="699385">
              <a:spcBef>
                <a:spcPts val="900"/>
              </a:spcBef>
            </a:pPr>
            <a:endParaRPr lang="en-US" sz="1050" dirty="0">
              <a:gradFill>
                <a:gsLst>
                  <a:gs pos="2917">
                    <a:srgbClr val="000000"/>
                  </a:gs>
                  <a:gs pos="30000">
                    <a:srgbClr val="000000"/>
                  </a:gs>
                </a:gsLst>
                <a:lin ang="5400000" scaled="0"/>
              </a:gradFill>
              <a:latin typeface="Segoe UI Semibold"/>
            </a:endParaRPr>
          </a:p>
          <a:p>
            <a:pPr defTabSz="699385">
              <a:spcBef>
                <a:spcPts val="900"/>
              </a:spcBef>
            </a:pPr>
            <a:r>
              <a:rPr lang="en-US" sz="1050" dirty="0">
                <a:gradFill>
                  <a:gsLst>
                    <a:gs pos="2917">
                      <a:srgbClr val="000000"/>
                    </a:gs>
                    <a:gs pos="30000">
                      <a:srgbClr val="000000"/>
                    </a:gs>
                  </a:gsLst>
                  <a:lin ang="5400000" scaled="0"/>
                </a:gradFill>
                <a:latin typeface="Segoe UI Semibold"/>
              </a:rPr>
              <a:t>Minecraft: Education Edition</a:t>
            </a:r>
          </a:p>
          <a:p>
            <a:pPr defTabSz="699385">
              <a:spcBef>
                <a:spcPts val="900"/>
              </a:spcBef>
            </a:pPr>
            <a:endParaRPr lang="en-US" sz="1050" dirty="0">
              <a:gradFill>
                <a:gsLst>
                  <a:gs pos="2917">
                    <a:srgbClr val="000000"/>
                  </a:gs>
                  <a:gs pos="30000">
                    <a:srgbClr val="000000"/>
                  </a:gs>
                </a:gsLst>
                <a:lin ang="5400000" scaled="0"/>
              </a:gradFill>
              <a:latin typeface="Segoe UI Semibold"/>
            </a:endParaRPr>
          </a:p>
          <a:p>
            <a:pPr defTabSz="699385">
              <a:spcBef>
                <a:spcPts val="900"/>
              </a:spcBef>
            </a:pPr>
            <a:r>
              <a:rPr lang="en-US" sz="1050" dirty="0">
                <a:gradFill>
                  <a:gsLst>
                    <a:gs pos="2917">
                      <a:srgbClr val="000000"/>
                    </a:gs>
                    <a:gs pos="30000">
                      <a:srgbClr val="000000"/>
                    </a:gs>
                  </a:gsLst>
                  <a:lin ang="5400000" scaled="0"/>
                </a:gradFill>
                <a:latin typeface="Segoe UI Semibold"/>
              </a:rPr>
              <a:t>Client Access and Server Licenses</a:t>
            </a:r>
          </a:p>
          <a:p>
            <a:pPr marL="125016" indent="-125016" defTabSz="699385">
              <a:buFont typeface="Arial" panose="020B0604020202020204" pitchFamily="34" charset="0"/>
              <a:buChar char="•"/>
            </a:pPr>
            <a:r>
              <a:rPr lang="en-US" sz="1050" dirty="0">
                <a:gradFill>
                  <a:gsLst>
                    <a:gs pos="2917">
                      <a:srgbClr val="000000"/>
                    </a:gs>
                    <a:gs pos="30000">
                      <a:srgbClr val="000000"/>
                    </a:gs>
                  </a:gsLst>
                  <a:lin ang="5400000" scaled="0"/>
                </a:gradFill>
                <a:latin typeface="Segoe UI"/>
              </a:rPr>
              <a:t>All customers get Productivity Server licenses</a:t>
            </a:r>
          </a:p>
        </p:txBody>
      </p:sp>
      <p:pic>
        <p:nvPicPr>
          <p:cNvPr id="2" name="Picture 1"/>
          <p:cNvPicPr>
            <a:picLocks noChangeAspect="1"/>
          </p:cNvPicPr>
          <p:nvPr/>
        </p:nvPicPr>
        <p:blipFill>
          <a:blip r:embed="rId4"/>
          <a:stretch>
            <a:fillRect/>
          </a:stretch>
        </p:blipFill>
        <p:spPr>
          <a:xfrm>
            <a:off x="0" y="0"/>
            <a:ext cx="9144000" cy="5131894"/>
          </a:xfrm>
          <a:prstGeom prst="rect">
            <a:avLst/>
          </a:prstGeom>
        </p:spPr>
      </p:pic>
    </p:spTree>
    <p:custDataLst>
      <p:tags r:id="rId1"/>
    </p:custDataLst>
    <p:extLst>
      <p:ext uri="{BB962C8B-B14F-4D97-AF65-F5344CB8AC3E}">
        <p14:creationId xmlns:p14="http://schemas.microsoft.com/office/powerpoint/2010/main" val="317603161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Softchoice Services &amp; Microsoft Cloud</a:t>
            </a:r>
          </a:p>
        </p:txBody>
      </p:sp>
    </p:spTree>
    <p:extLst>
      <p:ext uri="{BB962C8B-B14F-4D97-AF65-F5344CB8AC3E}">
        <p14:creationId xmlns:p14="http://schemas.microsoft.com/office/powerpoint/2010/main" val="33210540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oftchoice Service Offerings</a:t>
            </a:r>
          </a:p>
        </p:txBody>
      </p:sp>
      <p:sp>
        <p:nvSpPr>
          <p:cNvPr id="3" name="Text Placeholder 2"/>
          <p:cNvSpPr>
            <a:spLocks noGrp="1"/>
          </p:cNvSpPr>
          <p:nvPr>
            <p:ph type="body" sz="quarter" idx="11"/>
          </p:nvPr>
        </p:nvSpPr>
        <p:spPr>
          <a:xfrm>
            <a:off x="121482" y="796625"/>
            <a:ext cx="7812696" cy="4217554"/>
          </a:xfrm>
        </p:spPr>
        <p:txBody>
          <a:bodyPr>
            <a:normAutofit lnSpcReduction="10000"/>
          </a:bodyPr>
          <a:lstStyle/>
          <a:p>
            <a:pPr lvl="1"/>
            <a:r>
              <a:rPr lang="en-US" dirty="0"/>
              <a:t>Workload Assessments</a:t>
            </a:r>
          </a:p>
          <a:p>
            <a:pPr lvl="1"/>
            <a:r>
              <a:rPr lang="en-US" dirty="0"/>
              <a:t>Discovery and design / migration planning</a:t>
            </a:r>
          </a:p>
          <a:p>
            <a:pPr lvl="1"/>
            <a:r>
              <a:rPr lang="en-US" dirty="0"/>
              <a:t>Network Assessment</a:t>
            </a:r>
          </a:p>
          <a:p>
            <a:pPr lvl="1"/>
            <a:r>
              <a:rPr lang="en-US" dirty="0"/>
              <a:t>Azure and Office 365 pilots / migrations</a:t>
            </a:r>
          </a:p>
          <a:p>
            <a:pPr lvl="1"/>
            <a:r>
              <a:rPr lang="en-US" dirty="0"/>
              <a:t>Extensive bench expertise</a:t>
            </a:r>
          </a:p>
          <a:p>
            <a:pPr lvl="1"/>
            <a:r>
              <a:rPr lang="en-US" dirty="0"/>
              <a:t>Workload optimization</a:t>
            </a:r>
          </a:p>
          <a:p>
            <a:pPr lvl="1"/>
            <a:r>
              <a:rPr lang="en-US" dirty="0"/>
              <a:t>Licensing optimization</a:t>
            </a:r>
          </a:p>
          <a:p>
            <a:pPr lvl="1"/>
            <a:r>
              <a:rPr lang="en-US" dirty="0"/>
              <a:t>User Adoption</a:t>
            </a:r>
          </a:p>
          <a:p>
            <a:pPr lvl="1"/>
            <a:r>
              <a:rPr lang="en-US" dirty="0"/>
              <a:t>Training</a:t>
            </a:r>
          </a:p>
          <a:p>
            <a:pPr lvl="1"/>
            <a:r>
              <a:rPr lang="en-US" dirty="0"/>
              <a:t>Ongoing support and managed service options</a:t>
            </a:r>
          </a:p>
        </p:txBody>
      </p:sp>
    </p:spTree>
    <p:extLst>
      <p:ext uri="{BB962C8B-B14F-4D97-AF65-F5344CB8AC3E}">
        <p14:creationId xmlns:p14="http://schemas.microsoft.com/office/powerpoint/2010/main" val="4233629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animEffect transition="in" filter="fade">
                                      <p:cBhvr>
                                        <p:cTn id="35" dur="500"/>
                                        <p:tgtEl>
                                          <p:spTgt spid="3">
                                            <p:txEl>
                                              <p:pRg st="7" end="7"/>
                                            </p:txEl>
                                          </p:spTgt>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Effect transition="in" filter="fade">
                                      <p:cBhvr>
                                        <p:cTn id="39" dur="500"/>
                                        <p:tgtEl>
                                          <p:spTgt spid="3">
                                            <p:txEl>
                                              <p:pRg st="8" end="8"/>
                                            </p:txEl>
                                          </p:spTgt>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animEffect transition="in" filter="fade">
                                      <p:cBhvr>
                                        <p:cTn id="43"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What are the risks?</a:t>
            </a:r>
          </a:p>
        </p:txBody>
      </p:sp>
      <p:sp>
        <p:nvSpPr>
          <p:cNvPr id="3" name="Text Placeholder 2"/>
          <p:cNvSpPr>
            <a:spLocks noGrp="1"/>
          </p:cNvSpPr>
          <p:nvPr>
            <p:ph type="body" sz="quarter" idx="11"/>
          </p:nvPr>
        </p:nvSpPr>
        <p:spPr>
          <a:xfrm>
            <a:off x="121482" y="796625"/>
            <a:ext cx="7812696" cy="4217554"/>
          </a:xfrm>
        </p:spPr>
        <p:txBody>
          <a:bodyPr>
            <a:normAutofit fontScale="85000" lnSpcReduction="20000"/>
          </a:bodyPr>
          <a:lstStyle/>
          <a:p>
            <a:pPr lvl="1"/>
            <a:r>
              <a:rPr lang="en-US" dirty="0"/>
              <a:t>Leaping before you look!</a:t>
            </a:r>
          </a:p>
          <a:p>
            <a:pPr lvl="2"/>
            <a:r>
              <a:rPr lang="en-US" dirty="0"/>
              <a:t>Tenant creation best practices</a:t>
            </a:r>
          </a:p>
          <a:p>
            <a:pPr lvl="2"/>
            <a:r>
              <a:rPr lang="en-US" dirty="0"/>
              <a:t>Workload assessment</a:t>
            </a:r>
          </a:p>
          <a:p>
            <a:pPr lvl="2"/>
            <a:r>
              <a:rPr lang="en-US" dirty="0"/>
              <a:t>Cloud feasibility</a:t>
            </a:r>
          </a:p>
          <a:p>
            <a:pPr lvl="2"/>
            <a:r>
              <a:rPr lang="en-US" dirty="0"/>
              <a:t>Admin training</a:t>
            </a:r>
          </a:p>
          <a:p>
            <a:pPr lvl="2"/>
            <a:r>
              <a:rPr lang="en-US" dirty="0"/>
              <a:t>Migration Strategy</a:t>
            </a:r>
          </a:p>
          <a:p>
            <a:pPr lvl="2"/>
            <a:r>
              <a:rPr lang="en-US" dirty="0"/>
              <a:t>User Communications</a:t>
            </a:r>
          </a:p>
          <a:p>
            <a:pPr lvl="1"/>
            <a:r>
              <a:rPr lang="en-US" dirty="0"/>
              <a:t>Networking issues</a:t>
            </a:r>
          </a:p>
          <a:p>
            <a:pPr lvl="1"/>
            <a:r>
              <a:rPr lang="en-US" dirty="0"/>
              <a:t>Overspending</a:t>
            </a:r>
          </a:p>
          <a:p>
            <a:pPr lvl="2"/>
            <a:r>
              <a:rPr lang="en-US" dirty="0"/>
              <a:t>Forklifting workloads</a:t>
            </a:r>
          </a:p>
          <a:p>
            <a:pPr lvl="2"/>
            <a:r>
              <a:rPr lang="en-US" dirty="0"/>
              <a:t>Over-provisioning</a:t>
            </a:r>
          </a:p>
          <a:p>
            <a:pPr lvl="2"/>
            <a:r>
              <a:rPr lang="en-US" dirty="0"/>
              <a:t>“Just spin up another server!”</a:t>
            </a:r>
          </a:p>
          <a:p>
            <a:pPr lvl="2"/>
            <a:r>
              <a:rPr lang="en-US" dirty="0"/>
              <a:t>Not optimizing workloads, licensing, compute, etc.</a:t>
            </a:r>
          </a:p>
          <a:p>
            <a:pPr lvl="1"/>
            <a:r>
              <a:rPr lang="en-US" dirty="0"/>
              <a:t>User Adoption</a:t>
            </a:r>
            <a:endParaRPr lang="en-US" b="1" dirty="0"/>
          </a:p>
        </p:txBody>
      </p:sp>
    </p:spTree>
    <p:extLst>
      <p:ext uri="{BB962C8B-B14F-4D97-AF65-F5344CB8AC3E}">
        <p14:creationId xmlns:p14="http://schemas.microsoft.com/office/powerpoint/2010/main" val="782980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
                                            <p:txEl>
                                              <p:pRg st="9" end="9"/>
                                            </p:txEl>
                                          </p:spTgt>
                                        </p:tgtEl>
                                        <p:attrNameLst>
                                          <p:attrName>style.visibility</p:attrName>
                                        </p:attrNameLst>
                                      </p:cBhvr>
                                      <p:to>
                                        <p:strVal val="visible"/>
                                      </p:to>
                                    </p:set>
                                    <p:animEffect transition="in" filter="fade">
                                      <p:cBhvr>
                                        <p:cTn id="52" dur="500"/>
                                        <p:tgtEl>
                                          <p:spTgt spid="3">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
                                            <p:txEl>
                                              <p:pRg st="10" end="10"/>
                                            </p:txEl>
                                          </p:spTgt>
                                        </p:tgtEl>
                                        <p:attrNameLst>
                                          <p:attrName>style.visibility</p:attrName>
                                        </p:attrNameLst>
                                      </p:cBhvr>
                                      <p:to>
                                        <p:strVal val="visible"/>
                                      </p:to>
                                    </p:set>
                                    <p:animEffect transition="in" filter="fade">
                                      <p:cBhvr>
                                        <p:cTn id="57" dur="500"/>
                                        <p:tgtEl>
                                          <p:spTgt spid="3">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
                                            <p:txEl>
                                              <p:pRg st="11" end="11"/>
                                            </p:txEl>
                                          </p:spTgt>
                                        </p:tgtEl>
                                        <p:attrNameLst>
                                          <p:attrName>style.visibility</p:attrName>
                                        </p:attrNameLst>
                                      </p:cBhvr>
                                      <p:to>
                                        <p:strVal val="visible"/>
                                      </p:to>
                                    </p:set>
                                    <p:animEffect transition="in" filter="fade">
                                      <p:cBhvr>
                                        <p:cTn id="62" dur="500"/>
                                        <p:tgtEl>
                                          <p:spTgt spid="3">
                                            <p:txEl>
                                              <p:pRg st="11" end="11"/>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3">
                                            <p:txEl>
                                              <p:pRg st="12" end="12"/>
                                            </p:txEl>
                                          </p:spTgt>
                                        </p:tgtEl>
                                        <p:attrNameLst>
                                          <p:attrName>style.visibility</p:attrName>
                                        </p:attrNameLst>
                                      </p:cBhvr>
                                      <p:to>
                                        <p:strVal val="visible"/>
                                      </p:to>
                                    </p:set>
                                    <p:animEffect transition="in" filter="fade">
                                      <p:cBhvr>
                                        <p:cTn id="67" dur="500"/>
                                        <p:tgtEl>
                                          <p:spTgt spid="3">
                                            <p:txEl>
                                              <p:pRg st="12" end="12"/>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53" presetClass="entr" presetSubtype="16" fill="hold" nodeType="clickEffect">
                                  <p:stCondLst>
                                    <p:cond delay="0"/>
                                  </p:stCondLst>
                                  <p:childTnLst>
                                    <p:set>
                                      <p:cBhvr>
                                        <p:cTn id="71" dur="1" fill="hold">
                                          <p:stCondLst>
                                            <p:cond delay="0"/>
                                          </p:stCondLst>
                                        </p:cTn>
                                        <p:tgtEl>
                                          <p:spTgt spid="3">
                                            <p:txEl>
                                              <p:pRg st="13" end="13"/>
                                            </p:txEl>
                                          </p:spTgt>
                                        </p:tgtEl>
                                        <p:attrNameLst>
                                          <p:attrName>style.visibility</p:attrName>
                                        </p:attrNameLst>
                                      </p:cBhvr>
                                      <p:to>
                                        <p:strVal val="visible"/>
                                      </p:to>
                                    </p:set>
                                    <p:anim calcmode="lin" valueType="num">
                                      <p:cBhvr>
                                        <p:cTn id="72" dur="500" fill="hold"/>
                                        <p:tgtEl>
                                          <p:spTgt spid="3">
                                            <p:txEl>
                                              <p:pRg st="13" end="13"/>
                                            </p:txEl>
                                          </p:spTgt>
                                        </p:tgtEl>
                                        <p:attrNameLst>
                                          <p:attrName>ppt_w</p:attrName>
                                        </p:attrNameLst>
                                      </p:cBhvr>
                                      <p:tavLst>
                                        <p:tav tm="0">
                                          <p:val>
                                            <p:fltVal val="0"/>
                                          </p:val>
                                        </p:tav>
                                        <p:tav tm="100000">
                                          <p:val>
                                            <p:strVal val="#ppt_w"/>
                                          </p:val>
                                        </p:tav>
                                      </p:tavLst>
                                    </p:anim>
                                    <p:anim calcmode="lin" valueType="num">
                                      <p:cBhvr>
                                        <p:cTn id="73" dur="500" fill="hold"/>
                                        <p:tgtEl>
                                          <p:spTgt spid="3">
                                            <p:txEl>
                                              <p:pRg st="13" end="13"/>
                                            </p:txEl>
                                          </p:spTgt>
                                        </p:tgtEl>
                                        <p:attrNameLst>
                                          <p:attrName>ppt_h</p:attrName>
                                        </p:attrNameLst>
                                      </p:cBhvr>
                                      <p:tavLst>
                                        <p:tav tm="0">
                                          <p:val>
                                            <p:fltVal val="0"/>
                                          </p:val>
                                        </p:tav>
                                        <p:tav tm="100000">
                                          <p:val>
                                            <p:strVal val="#ppt_h"/>
                                          </p:val>
                                        </p:tav>
                                      </p:tavLst>
                                    </p:anim>
                                    <p:animEffect transition="in" filter="fade">
                                      <p:cBhvr>
                                        <p:cTn id="74"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FBC12-5405-4017-ABCC-888996757A6D}"/>
              </a:ext>
            </a:extLst>
          </p:cNvPr>
          <p:cNvSpPr>
            <a:spLocks noGrp="1"/>
          </p:cNvSpPr>
          <p:nvPr>
            <p:ph type="title"/>
          </p:nvPr>
        </p:nvSpPr>
        <p:spPr/>
        <p:txBody>
          <a:bodyPr>
            <a:normAutofit fontScale="90000"/>
          </a:bodyPr>
          <a:lstStyle/>
          <a:p>
            <a:r>
              <a:rPr lang="en-US" dirty="0"/>
              <a:t>Planning your migration to the Cloud</a:t>
            </a:r>
          </a:p>
        </p:txBody>
      </p:sp>
      <p:sp>
        <p:nvSpPr>
          <p:cNvPr id="4" name="Text Placeholder 3">
            <a:extLst>
              <a:ext uri="{FF2B5EF4-FFF2-40B4-BE49-F238E27FC236}">
                <a16:creationId xmlns:a16="http://schemas.microsoft.com/office/drawing/2014/main" id="{C0367225-C39E-4B7A-BDA2-839A26C7D5EE}"/>
              </a:ext>
            </a:extLst>
          </p:cNvPr>
          <p:cNvSpPr>
            <a:spLocks noGrp="1"/>
          </p:cNvSpPr>
          <p:nvPr>
            <p:ph type="body" sz="quarter" idx="11"/>
          </p:nvPr>
        </p:nvSpPr>
        <p:spPr>
          <a:xfrm>
            <a:off x="331789" y="1002507"/>
            <a:ext cx="1759181" cy="3277215"/>
          </a:xfrm>
        </p:spPr>
        <p:txBody>
          <a:bodyPr>
            <a:normAutofit/>
          </a:bodyPr>
          <a:lstStyle/>
          <a:p>
            <a:pPr marL="0" indent="0">
              <a:buNone/>
            </a:pPr>
            <a:r>
              <a:rPr lang="en-US" sz="1800" dirty="0"/>
              <a:t>Assess</a:t>
            </a:r>
          </a:p>
          <a:p>
            <a:r>
              <a:rPr lang="en-US" sz="1200" dirty="0"/>
              <a:t>Understand financial impacts / true cost of ownership</a:t>
            </a:r>
          </a:p>
          <a:p>
            <a:r>
              <a:rPr lang="en-US" sz="1200" dirty="0"/>
              <a:t>Determine desired path forward</a:t>
            </a:r>
          </a:p>
          <a:p>
            <a:r>
              <a:rPr lang="en-US" sz="1200" dirty="0"/>
              <a:t>On-Premises Workload Assessment</a:t>
            </a:r>
          </a:p>
          <a:p>
            <a:r>
              <a:rPr lang="en-US" sz="1200" dirty="0"/>
              <a:t>Gap Analysis of existing environment</a:t>
            </a:r>
          </a:p>
        </p:txBody>
      </p:sp>
      <p:sp>
        <p:nvSpPr>
          <p:cNvPr id="5" name="Text Placeholder 3">
            <a:extLst>
              <a:ext uri="{FF2B5EF4-FFF2-40B4-BE49-F238E27FC236}">
                <a16:creationId xmlns:a16="http://schemas.microsoft.com/office/drawing/2014/main" id="{8FA8E093-B012-49CC-AA01-B67D0BE59DB2}"/>
              </a:ext>
            </a:extLst>
          </p:cNvPr>
          <p:cNvSpPr txBox="1">
            <a:spLocks/>
          </p:cNvSpPr>
          <p:nvPr/>
        </p:nvSpPr>
        <p:spPr>
          <a:xfrm>
            <a:off x="2090970" y="1002504"/>
            <a:ext cx="1759181" cy="3277215"/>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8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24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20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18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18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800" b="0" i="0" u="none" strike="noStrike" kern="1200" cap="none" spc="0" normalizeH="0" baseline="0" noProof="0" dirty="0">
                <a:ln>
                  <a:noFill/>
                </a:ln>
                <a:solidFill>
                  <a:srgbClr val="000000"/>
                </a:solidFill>
                <a:effectLst/>
                <a:uLnTx/>
                <a:uFillTx/>
                <a:latin typeface="Helvetica"/>
                <a:ea typeface="+mn-ea"/>
                <a:cs typeface="Helvetica"/>
              </a:rPr>
              <a:t>Pilot</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Create “sandbox” cloud environment</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Determine team members / stakeholders</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Determine Best practices / requirements / compliance</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Acclimate to Azure / Office 365 tools and processes</a:t>
            </a:r>
          </a:p>
        </p:txBody>
      </p:sp>
      <p:sp>
        <p:nvSpPr>
          <p:cNvPr id="6" name="Text Placeholder 3">
            <a:extLst>
              <a:ext uri="{FF2B5EF4-FFF2-40B4-BE49-F238E27FC236}">
                <a16:creationId xmlns:a16="http://schemas.microsoft.com/office/drawing/2014/main" id="{29C5F9B0-7B5A-4B54-8C98-9152AAD2A93E}"/>
              </a:ext>
            </a:extLst>
          </p:cNvPr>
          <p:cNvSpPr txBox="1">
            <a:spLocks/>
          </p:cNvSpPr>
          <p:nvPr/>
        </p:nvSpPr>
        <p:spPr>
          <a:xfrm>
            <a:off x="3871922" y="1002503"/>
            <a:ext cx="1759181" cy="4011676"/>
          </a:xfrm>
          <a:prstGeom prst="rect">
            <a:avLst/>
          </a:prstGeom>
        </p:spPr>
        <p:txBody>
          <a:bodyPr vert="horz" lIns="91440" tIns="45720" rIns="91440" bIns="45720" rtlCol="0">
            <a:normAutofit lnSpcReduction="10000"/>
          </a:bodyPr>
          <a:lstStyle>
            <a:lvl1pPr marL="342900" indent="-342900" algn="l" defTabSz="457200" rtl="0" eaLnBrk="1" latinLnBrk="0" hangingPunct="1">
              <a:spcBef>
                <a:spcPct val="20000"/>
              </a:spcBef>
              <a:buFont typeface="Arial"/>
              <a:buChar char="•"/>
              <a:defRPr sz="28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24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20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18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18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800" b="0" i="0" u="none" strike="noStrike" kern="1200" cap="none" spc="0" normalizeH="0" baseline="0" noProof="0" dirty="0">
                <a:ln>
                  <a:noFill/>
                </a:ln>
                <a:solidFill>
                  <a:srgbClr val="000000"/>
                </a:solidFill>
                <a:effectLst/>
                <a:uLnTx/>
                <a:uFillTx/>
                <a:latin typeface="Helvetica"/>
                <a:ea typeface="+mn-ea"/>
                <a:cs typeface="Helvetica"/>
              </a:rPr>
              <a:t>Plan</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Review existing workloads / requirements / cloud feasibility</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Create Prerequisites / Gap Analysis for cloud migration</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Determine highest priority (EOS) and Lowest hanging fruit workloads</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Create Migration plan for candidate workloads</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Lay Groundwork for migration, migrate a single production workload</a:t>
            </a:r>
          </a:p>
        </p:txBody>
      </p:sp>
      <p:sp>
        <p:nvSpPr>
          <p:cNvPr id="7" name="Text Placeholder 3">
            <a:extLst>
              <a:ext uri="{FF2B5EF4-FFF2-40B4-BE49-F238E27FC236}">
                <a16:creationId xmlns:a16="http://schemas.microsoft.com/office/drawing/2014/main" id="{8440ABCD-B649-490F-B71D-FEFB6D136AE1}"/>
              </a:ext>
            </a:extLst>
          </p:cNvPr>
          <p:cNvSpPr txBox="1">
            <a:spLocks/>
          </p:cNvSpPr>
          <p:nvPr/>
        </p:nvSpPr>
        <p:spPr>
          <a:xfrm>
            <a:off x="5631103" y="1002502"/>
            <a:ext cx="1759181" cy="3277215"/>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8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24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20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18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18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800" b="0" i="0" u="none" strike="noStrike" kern="1200" cap="none" spc="0" normalizeH="0" baseline="0" noProof="0" dirty="0">
                <a:ln>
                  <a:noFill/>
                </a:ln>
                <a:solidFill>
                  <a:srgbClr val="000000"/>
                </a:solidFill>
                <a:effectLst/>
                <a:uLnTx/>
                <a:uFillTx/>
                <a:latin typeface="Helvetica"/>
                <a:ea typeface="+mn-ea"/>
                <a:cs typeface="Helvetica"/>
              </a:rPr>
              <a:t>Migration</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Review existing cloud workload(s) pilot results / cost</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Lay groundwork for additional workload migrations</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Create Scripts / tools for migration</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Communicate with users</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Create migration timeline</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Begin migrations</a:t>
            </a:r>
          </a:p>
        </p:txBody>
      </p:sp>
      <p:sp>
        <p:nvSpPr>
          <p:cNvPr id="8" name="Text Placeholder 3">
            <a:extLst>
              <a:ext uri="{FF2B5EF4-FFF2-40B4-BE49-F238E27FC236}">
                <a16:creationId xmlns:a16="http://schemas.microsoft.com/office/drawing/2014/main" id="{53B81E10-843B-4E8D-AD6E-286068EB07EF}"/>
              </a:ext>
            </a:extLst>
          </p:cNvPr>
          <p:cNvSpPr txBox="1">
            <a:spLocks/>
          </p:cNvSpPr>
          <p:nvPr/>
        </p:nvSpPr>
        <p:spPr>
          <a:xfrm>
            <a:off x="7384819" y="1002501"/>
            <a:ext cx="1759181" cy="3277215"/>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8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24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20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18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18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800" b="0" i="0" u="none" strike="noStrike" kern="1200" cap="none" spc="0" normalizeH="0" baseline="0" noProof="0" dirty="0">
                <a:ln>
                  <a:noFill/>
                </a:ln>
                <a:solidFill>
                  <a:srgbClr val="000000"/>
                </a:solidFill>
                <a:effectLst/>
                <a:uLnTx/>
                <a:uFillTx/>
                <a:latin typeface="Helvetica"/>
                <a:ea typeface="+mn-ea"/>
                <a:cs typeface="Helvetica"/>
              </a:rPr>
              <a:t>Optimize</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Utilize reports to determine workload cost</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Review reports with Cloud Expert to determine optimization options (VM Scaling, Storage right-sizing, PaaS, etc.)</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Helvetica"/>
                <a:ea typeface="+mn-ea"/>
                <a:cs typeface="Helvetica"/>
              </a:rPr>
              <a:t>Begin optimization tasks</a:t>
            </a:r>
          </a:p>
        </p:txBody>
      </p:sp>
    </p:spTree>
    <p:extLst>
      <p:ext uri="{BB962C8B-B14F-4D97-AF65-F5344CB8AC3E}">
        <p14:creationId xmlns:p14="http://schemas.microsoft.com/office/powerpoint/2010/main" val="782181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Effect transition="in" filter="fade">
                                      <p:cBhvr>
                                        <p:cTn id="19" dur="500"/>
                                        <p:tgtEl>
                                          <p:spTgt spid="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xEl>
                                              <p:pRg st="0" end="0"/>
                                            </p:txEl>
                                          </p:spTgt>
                                        </p:tgtEl>
                                        <p:attrNameLst>
                                          <p:attrName>style.visibility</p:attrName>
                                        </p:attrNameLst>
                                      </p:cBhvr>
                                      <p:to>
                                        <p:strVal val="visible"/>
                                      </p:to>
                                    </p:set>
                                    <p:animEffect transition="in" filter="fade">
                                      <p:cBhvr>
                                        <p:cTn id="24" dur="500"/>
                                        <p:tgtEl>
                                          <p:spTgt spid="5">
                                            <p:txEl>
                                              <p:pRg st="0" end="0"/>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1" end="1"/>
                                            </p:txEl>
                                          </p:spTgt>
                                        </p:tgtEl>
                                        <p:attrNameLst>
                                          <p:attrName>style.visibility</p:attrName>
                                        </p:attrNameLst>
                                      </p:cBhvr>
                                      <p:to>
                                        <p:strVal val="visible"/>
                                      </p:to>
                                    </p:set>
                                    <p:animEffect transition="in" filter="fade">
                                      <p:cBhvr>
                                        <p:cTn id="27" dur="500"/>
                                        <p:tgtEl>
                                          <p:spTgt spid="5">
                                            <p:txEl>
                                              <p:pRg st="1" end="1"/>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5">
                                            <p:txEl>
                                              <p:pRg st="2" end="2"/>
                                            </p:txEl>
                                          </p:spTgt>
                                        </p:tgtEl>
                                        <p:attrNameLst>
                                          <p:attrName>style.visibility</p:attrName>
                                        </p:attrNameLst>
                                      </p:cBhvr>
                                      <p:to>
                                        <p:strVal val="visible"/>
                                      </p:to>
                                    </p:set>
                                    <p:animEffect transition="in" filter="fade">
                                      <p:cBhvr>
                                        <p:cTn id="30" dur="500"/>
                                        <p:tgtEl>
                                          <p:spTgt spid="5">
                                            <p:txEl>
                                              <p:pRg st="2" end="2"/>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5">
                                            <p:txEl>
                                              <p:pRg st="3" end="3"/>
                                            </p:txEl>
                                          </p:spTgt>
                                        </p:tgtEl>
                                        <p:attrNameLst>
                                          <p:attrName>style.visibility</p:attrName>
                                        </p:attrNameLst>
                                      </p:cBhvr>
                                      <p:to>
                                        <p:strVal val="visible"/>
                                      </p:to>
                                    </p:set>
                                    <p:animEffect transition="in" filter="fade">
                                      <p:cBhvr>
                                        <p:cTn id="33" dur="500"/>
                                        <p:tgtEl>
                                          <p:spTgt spid="5">
                                            <p:txEl>
                                              <p:pRg st="3" end="3"/>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5">
                                            <p:txEl>
                                              <p:pRg st="4" end="4"/>
                                            </p:txEl>
                                          </p:spTgt>
                                        </p:tgtEl>
                                        <p:attrNameLst>
                                          <p:attrName>style.visibility</p:attrName>
                                        </p:attrNameLst>
                                      </p:cBhvr>
                                      <p:to>
                                        <p:strVal val="visible"/>
                                      </p:to>
                                    </p:set>
                                    <p:animEffect transition="in" filter="fade">
                                      <p:cBhvr>
                                        <p:cTn id="36" dur="500"/>
                                        <p:tgtEl>
                                          <p:spTgt spid="5">
                                            <p:txEl>
                                              <p:pRg st="4" end="4"/>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6">
                                            <p:txEl>
                                              <p:pRg st="0" end="0"/>
                                            </p:txEl>
                                          </p:spTgt>
                                        </p:tgtEl>
                                        <p:attrNameLst>
                                          <p:attrName>style.visibility</p:attrName>
                                        </p:attrNameLst>
                                      </p:cBhvr>
                                      <p:to>
                                        <p:strVal val="visible"/>
                                      </p:to>
                                    </p:set>
                                    <p:animEffect transition="in" filter="fade">
                                      <p:cBhvr>
                                        <p:cTn id="41" dur="500"/>
                                        <p:tgtEl>
                                          <p:spTgt spid="6">
                                            <p:txEl>
                                              <p:pRg st="0" end="0"/>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6">
                                            <p:txEl>
                                              <p:pRg st="1" end="1"/>
                                            </p:txEl>
                                          </p:spTgt>
                                        </p:tgtEl>
                                        <p:attrNameLst>
                                          <p:attrName>style.visibility</p:attrName>
                                        </p:attrNameLst>
                                      </p:cBhvr>
                                      <p:to>
                                        <p:strVal val="visible"/>
                                      </p:to>
                                    </p:set>
                                    <p:animEffect transition="in" filter="fade">
                                      <p:cBhvr>
                                        <p:cTn id="44" dur="500"/>
                                        <p:tgtEl>
                                          <p:spTgt spid="6">
                                            <p:txEl>
                                              <p:pRg st="1" end="1"/>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6">
                                            <p:txEl>
                                              <p:pRg st="2" end="2"/>
                                            </p:txEl>
                                          </p:spTgt>
                                        </p:tgtEl>
                                        <p:attrNameLst>
                                          <p:attrName>style.visibility</p:attrName>
                                        </p:attrNameLst>
                                      </p:cBhvr>
                                      <p:to>
                                        <p:strVal val="visible"/>
                                      </p:to>
                                    </p:set>
                                    <p:animEffect transition="in" filter="fade">
                                      <p:cBhvr>
                                        <p:cTn id="47" dur="500"/>
                                        <p:tgtEl>
                                          <p:spTgt spid="6">
                                            <p:txEl>
                                              <p:pRg st="2" end="2"/>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6">
                                            <p:txEl>
                                              <p:pRg st="3" end="3"/>
                                            </p:txEl>
                                          </p:spTgt>
                                        </p:tgtEl>
                                        <p:attrNameLst>
                                          <p:attrName>style.visibility</p:attrName>
                                        </p:attrNameLst>
                                      </p:cBhvr>
                                      <p:to>
                                        <p:strVal val="visible"/>
                                      </p:to>
                                    </p:set>
                                    <p:animEffect transition="in" filter="fade">
                                      <p:cBhvr>
                                        <p:cTn id="50" dur="500"/>
                                        <p:tgtEl>
                                          <p:spTgt spid="6">
                                            <p:txEl>
                                              <p:pRg st="3" end="3"/>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6">
                                            <p:txEl>
                                              <p:pRg st="4" end="4"/>
                                            </p:txEl>
                                          </p:spTgt>
                                        </p:tgtEl>
                                        <p:attrNameLst>
                                          <p:attrName>style.visibility</p:attrName>
                                        </p:attrNameLst>
                                      </p:cBhvr>
                                      <p:to>
                                        <p:strVal val="visible"/>
                                      </p:to>
                                    </p:set>
                                    <p:animEffect transition="in" filter="fade">
                                      <p:cBhvr>
                                        <p:cTn id="53" dur="500"/>
                                        <p:tgtEl>
                                          <p:spTgt spid="6">
                                            <p:txEl>
                                              <p:pRg st="4" end="4"/>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6">
                                            <p:txEl>
                                              <p:pRg st="5" end="5"/>
                                            </p:txEl>
                                          </p:spTgt>
                                        </p:tgtEl>
                                        <p:attrNameLst>
                                          <p:attrName>style.visibility</p:attrName>
                                        </p:attrNameLst>
                                      </p:cBhvr>
                                      <p:to>
                                        <p:strVal val="visible"/>
                                      </p:to>
                                    </p:set>
                                    <p:animEffect transition="in" filter="fade">
                                      <p:cBhvr>
                                        <p:cTn id="56" dur="500"/>
                                        <p:tgtEl>
                                          <p:spTgt spid="6">
                                            <p:txEl>
                                              <p:pRg st="5" end="5"/>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7">
                                            <p:txEl>
                                              <p:pRg st="0" end="0"/>
                                            </p:txEl>
                                          </p:spTgt>
                                        </p:tgtEl>
                                        <p:attrNameLst>
                                          <p:attrName>style.visibility</p:attrName>
                                        </p:attrNameLst>
                                      </p:cBhvr>
                                      <p:to>
                                        <p:strVal val="visible"/>
                                      </p:to>
                                    </p:set>
                                    <p:animEffect transition="in" filter="fade">
                                      <p:cBhvr>
                                        <p:cTn id="61" dur="500"/>
                                        <p:tgtEl>
                                          <p:spTgt spid="7">
                                            <p:txEl>
                                              <p:pRg st="0" end="0"/>
                                            </p:txEl>
                                          </p:spTgt>
                                        </p:tgtEl>
                                      </p:cBhvr>
                                    </p:animEffect>
                                  </p:childTnLst>
                                </p:cTn>
                              </p:par>
                              <p:par>
                                <p:cTn id="62" presetID="10" presetClass="entr" presetSubtype="0" fill="hold" nodeType="withEffect">
                                  <p:stCondLst>
                                    <p:cond delay="0"/>
                                  </p:stCondLst>
                                  <p:childTnLst>
                                    <p:set>
                                      <p:cBhvr>
                                        <p:cTn id="63" dur="1" fill="hold">
                                          <p:stCondLst>
                                            <p:cond delay="0"/>
                                          </p:stCondLst>
                                        </p:cTn>
                                        <p:tgtEl>
                                          <p:spTgt spid="7">
                                            <p:txEl>
                                              <p:pRg st="1" end="1"/>
                                            </p:txEl>
                                          </p:spTgt>
                                        </p:tgtEl>
                                        <p:attrNameLst>
                                          <p:attrName>style.visibility</p:attrName>
                                        </p:attrNameLst>
                                      </p:cBhvr>
                                      <p:to>
                                        <p:strVal val="visible"/>
                                      </p:to>
                                    </p:set>
                                    <p:animEffect transition="in" filter="fade">
                                      <p:cBhvr>
                                        <p:cTn id="64" dur="500"/>
                                        <p:tgtEl>
                                          <p:spTgt spid="7">
                                            <p:txEl>
                                              <p:pRg st="1" end="1"/>
                                            </p:txEl>
                                          </p:spTgt>
                                        </p:tgtEl>
                                      </p:cBhvr>
                                    </p:animEffect>
                                  </p:childTnLst>
                                </p:cTn>
                              </p:par>
                              <p:par>
                                <p:cTn id="65" presetID="10" presetClass="entr" presetSubtype="0" fill="hold" nodeType="withEffect">
                                  <p:stCondLst>
                                    <p:cond delay="0"/>
                                  </p:stCondLst>
                                  <p:childTnLst>
                                    <p:set>
                                      <p:cBhvr>
                                        <p:cTn id="66" dur="1" fill="hold">
                                          <p:stCondLst>
                                            <p:cond delay="0"/>
                                          </p:stCondLst>
                                        </p:cTn>
                                        <p:tgtEl>
                                          <p:spTgt spid="7">
                                            <p:txEl>
                                              <p:pRg st="2" end="2"/>
                                            </p:txEl>
                                          </p:spTgt>
                                        </p:tgtEl>
                                        <p:attrNameLst>
                                          <p:attrName>style.visibility</p:attrName>
                                        </p:attrNameLst>
                                      </p:cBhvr>
                                      <p:to>
                                        <p:strVal val="visible"/>
                                      </p:to>
                                    </p:set>
                                    <p:animEffect transition="in" filter="fade">
                                      <p:cBhvr>
                                        <p:cTn id="67" dur="500"/>
                                        <p:tgtEl>
                                          <p:spTgt spid="7">
                                            <p:txEl>
                                              <p:pRg st="2" end="2"/>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7">
                                            <p:txEl>
                                              <p:pRg st="3" end="3"/>
                                            </p:txEl>
                                          </p:spTgt>
                                        </p:tgtEl>
                                        <p:attrNameLst>
                                          <p:attrName>style.visibility</p:attrName>
                                        </p:attrNameLst>
                                      </p:cBhvr>
                                      <p:to>
                                        <p:strVal val="visible"/>
                                      </p:to>
                                    </p:set>
                                    <p:animEffect transition="in" filter="fade">
                                      <p:cBhvr>
                                        <p:cTn id="70" dur="500"/>
                                        <p:tgtEl>
                                          <p:spTgt spid="7">
                                            <p:txEl>
                                              <p:pRg st="3" end="3"/>
                                            </p:txEl>
                                          </p:spTgt>
                                        </p:tgtEl>
                                      </p:cBhvr>
                                    </p:animEffect>
                                  </p:childTnLst>
                                </p:cTn>
                              </p:par>
                              <p:par>
                                <p:cTn id="71" presetID="10" presetClass="entr" presetSubtype="0" fill="hold" nodeType="withEffect">
                                  <p:stCondLst>
                                    <p:cond delay="0"/>
                                  </p:stCondLst>
                                  <p:childTnLst>
                                    <p:set>
                                      <p:cBhvr>
                                        <p:cTn id="72" dur="1" fill="hold">
                                          <p:stCondLst>
                                            <p:cond delay="0"/>
                                          </p:stCondLst>
                                        </p:cTn>
                                        <p:tgtEl>
                                          <p:spTgt spid="7">
                                            <p:txEl>
                                              <p:pRg st="4" end="4"/>
                                            </p:txEl>
                                          </p:spTgt>
                                        </p:tgtEl>
                                        <p:attrNameLst>
                                          <p:attrName>style.visibility</p:attrName>
                                        </p:attrNameLst>
                                      </p:cBhvr>
                                      <p:to>
                                        <p:strVal val="visible"/>
                                      </p:to>
                                    </p:set>
                                    <p:animEffect transition="in" filter="fade">
                                      <p:cBhvr>
                                        <p:cTn id="73" dur="500"/>
                                        <p:tgtEl>
                                          <p:spTgt spid="7">
                                            <p:txEl>
                                              <p:pRg st="4" end="4"/>
                                            </p:txEl>
                                          </p:spTgt>
                                        </p:tgtEl>
                                      </p:cBhvr>
                                    </p:animEffect>
                                  </p:childTnLst>
                                </p:cTn>
                              </p:par>
                              <p:par>
                                <p:cTn id="74" presetID="10" presetClass="entr" presetSubtype="0" fill="hold" nodeType="withEffect">
                                  <p:stCondLst>
                                    <p:cond delay="0"/>
                                  </p:stCondLst>
                                  <p:childTnLst>
                                    <p:set>
                                      <p:cBhvr>
                                        <p:cTn id="75" dur="1" fill="hold">
                                          <p:stCondLst>
                                            <p:cond delay="0"/>
                                          </p:stCondLst>
                                        </p:cTn>
                                        <p:tgtEl>
                                          <p:spTgt spid="7">
                                            <p:txEl>
                                              <p:pRg st="5" end="5"/>
                                            </p:txEl>
                                          </p:spTgt>
                                        </p:tgtEl>
                                        <p:attrNameLst>
                                          <p:attrName>style.visibility</p:attrName>
                                        </p:attrNameLst>
                                      </p:cBhvr>
                                      <p:to>
                                        <p:strVal val="visible"/>
                                      </p:to>
                                    </p:set>
                                    <p:animEffect transition="in" filter="fade">
                                      <p:cBhvr>
                                        <p:cTn id="76" dur="500"/>
                                        <p:tgtEl>
                                          <p:spTgt spid="7">
                                            <p:txEl>
                                              <p:pRg st="5" end="5"/>
                                            </p:txEl>
                                          </p:spTgt>
                                        </p:tgtEl>
                                      </p:cBhvr>
                                    </p:animEffect>
                                  </p:childTnLst>
                                </p:cTn>
                              </p:par>
                              <p:par>
                                <p:cTn id="77" presetID="10" presetClass="entr" presetSubtype="0" fill="hold" nodeType="withEffect">
                                  <p:stCondLst>
                                    <p:cond delay="0"/>
                                  </p:stCondLst>
                                  <p:childTnLst>
                                    <p:set>
                                      <p:cBhvr>
                                        <p:cTn id="78" dur="1" fill="hold">
                                          <p:stCondLst>
                                            <p:cond delay="0"/>
                                          </p:stCondLst>
                                        </p:cTn>
                                        <p:tgtEl>
                                          <p:spTgt spid="7">
                                            <p:txEl>
                                              <p:pRg st="6" end="6"/>
                                            </p:txEl>
                                          </p:spTgt>
                                        </p:tgtEl>
                                        <p:attrNameLst>
                                          <p:attrName>style.visibility</p:attrName>
                                        </p:attrNameLst>
                                      </p:cBhvr>
                                      <p:to>
                                        <p:strVal val="visible"/>
                                      </p:to>
                                    </p:set>
                                    <p:animEffect transition="in" filter="fade">
                                      <p:cBhvr>
                                        <p:cTn id="79" dur="500"/>
                                        <p:tgtEl>
                                          <p:spTgt spid="7">
                                            <p:txEl>
                                              <p:pRg st="6" end="6"/>
                                            </p:txEl>
                                          </p:spTgt>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nodeType="clickEffect">
                                  <p:stCondLst>
                                    <p:cond delay="0"/>
                                  </p:stCondLst>
                                  <p:childTnLst>
                                    <p:set>
                                      <p:cBhvr>
                                        <p:cTn id="83" dur="1" fill="hold">
                                          <p:stCondLst>
                                            <p:cond delay="0"/>
                                          </p:stCondLst>
                                        </p:cTn>
                                        <p:tgtEl>
                                          <p:spTgt spid="8">
                                            <p:txEl>
                                              <p:pRg st="0" end="0"/>
                                            </p:txEl>
                                          </p:spTgt>
                                        </p:tgtEl>
                                        <p:attrNameLst>
                                          <p:attrName>style.visibility</p:attrName>
                                        </p:attrNameLst>
                                      </p:cBhvr>
                                      <p:to>
                                        <p:strVal val="visible"/>
                                      </p:to>
                                    </p:set>
                                    <p:animEffect transition="in" filter="fade">
                                      <p:cBhvr>
                                        <p:cTn id="84" dur="500"/>
                                        <p:tgtEl>
                                          <p:spTgt spid="8">
                                            <p:txEl>
                                              <p:pRg st="0" end="0"/>
                                            </p:txEl>
                                          </p:spTgt>
                                        </p:tgtEl>
                                      </p:cBhvr>
                                    </p:animEffect>
                                  </p:childTnLst>
                                </p:cTn>
                              </p:par>
                              <p:par>
                                <p:cTn id="85" presetID="10" presetClass="entr" presetSubtype="0" fill="hold" nodeType="withEffect">
                                  <p:stCondLst>
                                    <p:cond delay="0"/>
                                  </p:stCondLst>
                                  <p:childTnLst>
                                    <p:set>
                                      <p:cBhvr>
                                        <p:cTn id="86" dur="1" fill="hold">
                                          <p:stCondLst>
                                            <p:cond delay="0"/>
                                          </p:stCondLst>
                                        </p:cTn>
                                        <p:tgtEl>
                                          <p:spTgt spid="8">
                                            <p:txEl>
                                              <p:pRg st="1" end="1"/>
                                            </p:txEl>
                                          </p:spTgt>
                                        </p:tgtEl>
                                        <p:attrNameLst>
                                          <p:attrName>style.visibility</p:attrName>
                                        </p:attrNameLst>
                                      </p:cBhvr>
                                      <p:to>
                                        <p:strVal val="visible"/>
                                      </p:to>
                                    </p:set>
                                    <p:animEffect transition="in" filter="fade">
                                      <p:cBhvr>
                                        <p:cTn id="87" dur="500"/>
                                        <p:tgtEl>
                                          <p:spTgt spid="8">
                                            <p:txEl>
                                              <p:pRg st="1" end="1"/>
                                            </p:txEl>
                                          </p:spTgt>
                                        </p:tgtEl>
                                      </p:cBhvr>
                                    </p:animEffect>
                                  </p:childTnLst>
                                </p:cTn>
                              </p:par>
                              <p:par>
                                <p:cTn id="88" presetID="10" presetClass="entr" presetSubtype="0" fill="hold" nodeType="withEffect">
                                  <p:stCondLst>
                                    <p:cond delay="0"/>
                                  </p:stCondLst>
                                  <p:childTnLst>
                                    <p:set>
                                      <p:cBhvr>
                                        <p:cTn id="89" dur="1" fill="hold">
                                          <p:stCondLst>
                                            <p:cond delay="0"/>
                                          </p:stCondLst>
                                        </p:cTn>
                                        <p:tgtEl>
                                          <p:spTgt spid="8">
                                            <p:txEl>
                                              <p:pRg st="2" end="2"/>
                                            </p:txEl>
                                          </p:spTgt>
                                        </p:tgtEl>
                                        <p:attrNameLst>
                                          <p:attrName>style.visibility</p:attrName>
                                        </p:attrNameLst>
                                      </p:cBhvr>
                                      <p:to>
                                        <p:strVal val="visible"/>
                                      </p:to>
                                    </p:set>
                                    <p:animEffect transition="in" filter="fade">
                                      <p:cBhvr>
                                        <p:cTn id="90" dur="500"/>
                                        <p:tgtEl>
                                          <p:spTgt spid="8">
                                            <p:txEl>
                                              <p:pRg st="2" end="2"/>
                                            </p:txEl>
                                          </p:spTgt>
                                        </p:tgtEl>
                                      </p:cBhvr>
                                    </p:animEffect>
                                  </p:childTnLst>
                                </p:cTn>
                              </p:par>
                              <p:par>
                                <p:cTn id="91" presetID="10" presetClass="entr" presetSubtype="0" fill="hold" nodeType="withEffect">
                                  <p:stCondLst>
                                    <p:cond delay="0"/>
                                  </p:stCondLst>
                                  <p:childTnLst>
                                    <p:set>
                                      <p:cBhvr>
                                        <p:cTn id="92" dur="1" fill="hold">
                                          <p:stCondLst>
                                            <p:cond delay="0"/>
                                          </p:stCondLst>
                                        </p:cTn>
                                        <p:tgtEl>
                                          <p:spTgt spid="8">
                                            <p:txEl>
                                              <p:pRg st="3" end="3"/>
                                            </p:txEl>
                                          </p:spTgt>
                                        </p:tgtEl>
                                        <p:attrNameLst>
                                          <p:attrName>style.visibility</p:attrName>
                                        </p:attrNameLst>
                                      </p:cBhvr>
                                      <p:to>
                                        <p:strVal val="visible"/>
                                      </p:to>
                                    </p:set>
                                    <p:animEffect transition="in" filter="fade">
                                      <p:cBhvr>
                                        <p:cTn id="93"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oftchoice Services</a:t>
            </a:r>
          </a:p>
        </p:txBody>
      </p:sp>
      <p:pic>
        <p:nvPicPr>
          <p:cNvPr id="4" name="Picture 3">
            <a:extLst>
              <a:ext uri="{FF2B5EF4-FFF2-40B4-BE49-F238E27FC236}">
                <a16:creationId xmlns:a16="http://schemas.microsoft.com/office/drawing/2014/main" id="{4BC5DA88-9B2A-4D77-8D8C-58B224DAA14B}"/>
              </a:ext>
            </a:extLst>
          </p:cNvPr>
          <p:cNvPicPr>
            <a:picLocks noChangeAspect="1"/>
          </p:cNvPicPr>
          <p:nvPr/>
        </p:nvPicPr>
        <p:blipFill>
          <a:blip r:embed="rId2"/>
          <a:stretch>
            <a:fillRect/>
          </a:stretch>
        </p:blipFill>
        <p:spPr>
          <a:xfrm>
            <a:off x="79213" y="1239467"/>
            <a:ext cx="2995749" cy="3091042"/>
          </a:xfrm>
          <a:prstGeom prst="rect">
            <a:avLst/>
          </a:prstGeom>
        </p:spPr>
      </p:pic>
      <p:pic>
        <p:nvPicPr>
          <p:cNvPr id="5" name="Picture 4">
            <a:extLst>
              <a:ext uri="{FF2B5EF4-FFF2-40B4-BE49-F238E27FC236}">
                <a16:creationId xmlns:a16="http://schemas.microsoft.com/office/drawing/2014/main" id="{8CD96FB7-F11F-49D9-95BC-D1E45F54F7B4}"/>
              </a:ext>
            </a:extLst>
          </p:cNvPr>
          <p:cNvPicPr>
            <a:picLocks noChangeAspect="1"/>
          </p:cNvPicPr>
          <p:nvPr/>
        </p:nvPicPr>
        <p:blipFill>
          <a:blip r:embed="rId3"/>
          <a:stretch>
            <a:fillRect/>
          </a:stretch>
        </p:blipFill>
        <p:spPr>
          <a:xfrm>
            <a:off x="3102584" y="1245636"/>
            <a:ext cx="2938832" cy="3091043"/>
          </a:xfrm>
          <a:prstGeom prst="rect">
            <a:avLst/>
          </a:prstGeom>
        </p:spPr>
      </p:pic>
      <p:pic>
        <p:nvPicPr>
          <p:cNvPr id="6" name="Picture 5">
            <a:extLst>
              <a:ext uri="{FF2B5EF4-FFF2-40B4-BE49-F238E27FC236}">
                <a16:creationId xmlns:a16="http://schemas.microsoft.com/office/drawing/2014/main" id="{DD3180FF-343E-4A82-8DA3-BD002FCEA8F2}"/>
              </a:ext>
            </a:extLst>
          </p:cNvPr>
          <p:cNvPicPr>
            <a:picLocks noChangeAspect="1"/>
          </p:cNvPicPr>
          <p:nvPr/>
        </p:nvPicPr>
        <p:blipFill>
          <a:blip r:embed="rId4"/>
          <a:stretch>
            <a:fillRect/>
          </a:stretch>
        </p:blipFill>
        <p:spPr>
          <a:xfrm>
            <a:off x="6083686" y="1239467"/>
            <a:ext cx="2938832" cy="3097212"/>
          </a:xfrm>
          <a:prstGeom prst="rect">
            <a:avLst/>
          </a:prstGeom>
        </p:spPr>
      </p:pic>
    </p:spTree>
    <p:extLst>
      <p:ext uri="{BB962C8B-B14F-4D97-AF65-F5344CB8AC3E}">
        <p14:creationId xmlns:p14="http://schemas.microsoft.com/office/powerpoint/2010/main" val="18406582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ftchoice Azure Accelerator</a:t>
            </a:r>
          </a:p>
        </p:txBody>
      </p:sp>
      <p:sp>
        <p:nvSpPr>
          <p:cNvPr id="4" name="Rectangle 3"/>
          <p:cNvSpPr/>
          <p:nvPr/>
        </p:nvSpPr>
        <p:spPr>
          <a:xfrm>
            <a:off x="3886200" y="1275274"/>
            <a:ext cx="4572000" cy="2924647"/>
          </a:xfrm>
          <a:prstGeom prst="rect">
            <a:avLst/>
          </a:prstGeom>
        </p:spPr>
        <p:txBody>
          <a:bodyPr>
            <a:spAutoFit/>
          </a:bodyPr>
          <a:lstStyle/>
          <a:p>
            <a:pPr marL="0" marR="0" lvl="0" indent="0" algn="l" defTabSz="685783" rtl="0" eaLnBrk="1" fontAlgn="auto" latinLnBrk="0" hangingPunct="1">
              <a:lnSpc>
                <a:spcPct val="90000"/>
              </a:lnSpc>
              <a:spcBef>
                <a:spcPct val="0"/>
              </a:spcBef>
              <a:spcAft>
                <a:spcPts val="0"/>
              </a:spcAft>
              <a:buClr>
                <a:srgbClr val="FFC000"/>
              </a:buClr>
              <a:buSzTx/>
              <a:buFontTx/>
              <a:buNone/>
              <a:tabLst/>
              <a:defRPr/>
            </a:pPr>
            <a:r>
              <a:rPr kumimoji="0" lang="en-US" sz="1350" b="1" i="0" u="none" strike="noStrike" kern="1200" cap="none" spc="0"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ENVISION AND PLAN</a:t>
            </a:r>
          </a:p>
          <a:p>
            <a:pPr marL="0" marR="0" lvl="0" indent="0" algn="l" defTabSz="685783" rtl="0" eaLnBrk="1" fontAlgn="auto" latinLnBrk="0" hangingPunct="1">
              <a:lnSpc>
                <a:spcPct val="90000"/>
              </a:lnSpc>
              <a:spcBef>
                <a:spcPct val="0"/>
              </a:spcBef>
              <a:spcAft>
                <a:spcPts val="0"/>
              </a:spcAft>
              <a:buClr>
                <a:srgbClr val="FFC000"/>
              </a:buClr>
              <a:buSzTx/>
              <a:buFontTx/>
              <a:buNone/>
              <a:tabLst/>
              <a:defRPr/>
            </a:pPr>
            <a:r>
              <a:rPr kumimoji="0" lang="en-US" sz="1350" b="0" i="0" u="none" strike="noStrike" kern="1200" cap="none" spc="0" normalizeH="0" baseline="0" noProof="0" dirty="0">
                <a:ln>
                  <a:noFill/>
                </a:ln>
                <a:solidFill>
                  <a:srgbClr val="353535">
                    <a:lumMod val="85000"/>
                    <a:lumOff val="15000"/>
                  </a:srgbClr>
                </a:solidFill>
                <a:effectLst/>
                <a:uLnTx/>
                <a:uFillTx/>
                <a:latin typeface="Segoe UI Light" panose="020B0502040204020203" pitchFamily="34" charset="0"/>
                <a:ea typeface="+mn-ea"/>
                <a:cs typeface="Segoe UI Light" panose="020B0502040204020203" pitchFamily="34" charset="0"/>
              </a:rPr>
              <a:t>Education of Azure and the selection of a production workload to achieve success</a:t>
            </a:r>
          </a:p>
          <a:p>
            <a:pPr marL="0" marR="0" lvl="0" indent="0" algn="l" defTabSz="685783" rtl="0" eaLnBrk="1" fontAlgn="auto" latinLnBrk="0" hangingPunct="1">
              <a:lnSpc>
                <a:spcPct val="90000"/>
              </a:lnSpc>
              <a:spcBef>
                <a:spcPct val="0"/>
              </a:spcBef>
              <a:spcAft>
                <a:spcPts val="0"/>
              </a:spcAft>
              <a:buClr>
                <a:srgbClr val="FFC000"/>
              </a:buClr>
              <a:buSzTx/>
              <a:buFontTx/>
              <a:buNone/>
              <a:tabLst/>
              <a:defRPr/>
            </a:pPr>
            <a:endParaRPr kumimoji="0" lang="en-US" sz="900" b="0" i="0" u="none" strike="noStrike" kern="1200" cap="none" spc="0" normalizeH="0" baseline="0" noProof="0" dirty="0">
              <a:ln>
                <a:noFill/>
              </a:ln>
              <a:solidFill>
                <a:srgbClr val="353535">
                  <a:lumMod val="85000"/>
                  <a:lumOff val="15000"/>
                </a:srgbClr>
              </a:solidFill>
              <a:effectLst/>
              <a:uLnTx/>
              <a:uFillTx/>
              <a:latin typeface="Segoe UI Light" panose="020B0502040204020203" pitchFamily="34" charset="0"/>
              <a:ea typeface="+mn-ea"/>
              <a:cs typeface="Segoe UI Light" panose="020B0502040204020203" pitchFamily="34" charset="0"/>
            </a:endParaRPr>
          </a:p>
          <a:p>
            <a:pPr marL="0" marR="0" lvl="0" indent="0" algn="l" defTabSz="685783" rtl="0" eaLnBrk="1" fontAlgn="auto" latinLnBrk="0" hangingPunct="1">
              <a:lnSpc>
                <a:spcPct val="100000"/>
              </a:lnSpc>
              <a:spcBef>
                <a:spcPts val="0"/>
              </a:spcBef>
              <a:spcAft>
                <a:spcPts val="0"/>
              </a:spcAft>
              <a:buClr>
                <a:srgbClr val="FFC000"/>
              </a:buClr>
              <a:buSzTx/>
              <a:buFontTx/>
              <a:buNone/>
              <a:tabLst/>
              <a:defRPr/>
            </a:pPr>
            <a:r>
              <a:rPr kumimoji="0" lang="en-US" sz="1350" b="1" i="0" u="none" strike="noStrike" kern="1200" cap="none" spc="0" normalizeH="0" baseline="0" noProof="0" dirty="0">
                <a:ln>
                  <a:noFill/>
                </a:ln>
                <a:solidFill>
                  <a:srgbClr val="FFFFFF">
                    <a:lumMod val="65000"/>
                  </a:srgbClr>
                </a:solidFill>
                <a:effectLst/>
                <a:uLnTx/>
                <a:uFillTx/>
                <a:latin typeface="Segoe UI" panose="020B0502040204020203" pitchFamily="34" charset="0"/>
                <a:ea typeface="Segoe UI Black" panose="020B0A02040204020203" pitchFamily="34" charset="0"/>
                <a:cs typeface="Segoe UI" panose="020B0502040204020203" pitchFamily="34" charset="0"/>
              </a:rPr>
              <a:t>ARCHITECT</a:t>
            </a:r>
          </a:p>
          <a:p>
            <a:pPr marL="0" marR="0" lvl="0" indent="0" algn="l" defTabSz="685783" rtl="0" eaLnBrk="1" fontAlgn="auto" latinLnBrk="0" hangingPunct="1">
              <a:lnSpc>
                <a:spcPct val="100000"/>
              </a:lnSpc>
              <a:spcBef>
                <a:spcPts val="0"/>
              </a:spcBef>
              <a:spcAft>
                <a:spcPts val="0"/>
              </a:spcAft>
              <a:buClr>
                <a:srgbClr val="FFC000"/>
              </a:buClr>
              <a:buSzTx/>
              <a:buFontTx/>
              <a:buNone/>
              <a:tabLst/>
              <a:defRPr/>
            </a:pPr>
            <a:r>
              <a:rPr kumimoji="0" lang="en-US" sz="1350" b="0" i="0" u="none" strike="noStrike" kern="1200" cap="none" spc="0" normalizeH="0" baseline="0" noProof="0" dirty="0">
                <a:ln>
                  <a:noFill/>
                </a:ln>
                <a:solidFill>
                  <a:srgbClr val="353535">
                    <a:lumMod val="85000"/>
                    <a:lumOff val="15000"/>
                  </a:srgbClr>
                </a:solidFill>
                <a:effectLst/>
                <a:uLnTx/>
                <a:uFillTx/>
                <a:latin typeface="Segoe UI Light" panose="020B0502040204020203" pitchFamily="34" charset="0"/>
                <a:ea typeface="+mn-ea"/>
                <a:cs typeface="Segoe UI Light" panose="020B0502040204020203" pitchFamily="34" charset="0"/>
              </a:rPr>
              <a:t>Reference architecture built from the experience of over 300 migrations</a:t>
            </a:r>
          </a:p>
          <a:p>
            <a:pPr marL="0" marR="0" lvl="0" indent="0" algn="l" defTabSz="685783" rtl="0" eaLnBrk="1" fontAlgn="auto" latinLnBrk="0" hangingPunct="1">
              <a:lnSpc>
                <a:spcPct val="100000"/>
              </a:lnSpc>
              <a:spcBef>
                <a:spcPts val="0"/>
              </a:spcBef>
              <a:spcAft>
                <a:spcPts val="0"/>
              </a:spcAft>
              <a:buClr>
                <a:srgbClr val="FFC000"/>
              </a:buClr>
              <a:buSzTx/>
              <a:buFontTx/>
              <a:buNone/>
              <a:tabLst/>
              <a:defRPr/>
            </a:pPr>
            <a:endParaRPr kumimoji="0" lang="en-US" sz="900" b="0" i="0" u="none" strike="noStrike" kern="1200" cap="none" spc="0" normalizeH="0" baseline="0" noProof="0" dirty="0">
              <a:ln>
                <a:noFill/>
              </a:ln>
              <a:solidFill>
                <a:srgbClr val="353535">
                  <a:lumMod val="85000"/>
                  <a:lumOff val="15000"/>
                </a:srgbClr>
              </a:solidFill>
              <a:effectLst/>
              <a:uLnTx/>
              <a:uFillTx/>
              <a:latin typeface="Segoe UI Light" panose="020B0502040204020203" pitchFamily="34" charset="0"/>
              <a:ea typeface="+mn-ea"/>
              <a:cs typeface="Segoe UI Light" panose="020B0502040204020203" pitchFamily="34" charset="0"/>
            </a:endParaRPr>
          </a:p>
          <a:p>
            <a:pPr marL="0" marR="0" lvl="0" indent="0" algn="l" defTabSz="685783" rtl="0" eaLnBrk="1" fontAlgn="auto" latinLnBrk="0" hangingPunct="1">
              <a:lnSpc>
                <a:spcPct val="100000"/>
              </a:lnSpc>
              <a:spcBef>
                <a:spcPts val="0"/>
              </a:spcBef>
              <a:spcAft>
                <a:spcPts val="0"/>
              </a:spcAft>
              <a:buClr>
                <a:srgbClr val="FFC000"/>
              </a:buClr>
              <a:buSzTx/>
              <a:buFontTx/>
              <a:buNone/>
              <a:tabLst/>
              <a:defRPr/>
            </a:pPr>
            <a:r>
              <a:rPr kumimoji="0" lang="en-US" sz="1350" b="1" i="0" u="none" strike="noStrike" kern="1200" cap="none" spc="0"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MIGRATE</a:t>
            </a:r>
          </a:p>
          <a:p>
            <a:pPr marL="0" marR="0" lvl="0" indent="0" algn="l" defTabSz="685783" rtl="0" eaLnBrk="1" fontAlgn="auto" latinLnBrk="0" hangingPunct="1">
              <a:lnSpc>
                <a:spcPct val="100000"/>
              </a:lnSpc>
              <a:spcBef>
                <a:spcPts val="0"/>
              </a:spcBef>
              <a:spcAft>
                <a:spcPts val="0"/>
              </a:spcAft>
              <a:buClr>
                <a:srgbClr val="FFC000"/>
              </a:buClr>
              <a:buSzTx/>
              <a:buFontTx/>
              <a:buNone/>
              <a:tabLst/>
              <a:defRPr/>
            </a:pPr>
            <a:r>
              <a:rPr kumimoji="0" lang="en-US" sz="1350" b="0" i="0" u="none" strike="noStrike" kern="1200" cap="none" spc="0" normalizeH="0" baseline="0" noProof="0" dirty="0">
                <a:ln>
                  <a:noFill/>
                </a:ln>
                <a:solidFill>
                  <a:srgbClr val="353535">
                    <a:lumMod val="85000"/>
                    <a:lumOff val="15000"/>
                  </a:srgbClr>
                </a:solidFill>
                <a:effectLst/>
                <a:uLnTx/>
                <a:uFillTx/>
                <a:latin typeface="Segoe UI Light" panose="020B0502040204020203" pitchFamily="34" charset="0"/>
                <a:ea typeface="+mn-ea"/>
                <a:cs typeface="Segoe UI Light" panose="020B0502040204020203" pitchFamily="34" charset="0"/>
              </a:rPr>
              <a:t>Complete Azure migration delivered from engineers certified in the Azure Accelerator offering</a:t>
            </a:r>
          </a:p>
          <a:p>
            <a:pPr marL="0" marR="0" lvl="0" indent="0" algn="l" defTabSz="685783" rtl="0" eaLnBrk="1" fontAlgn="auto" latinLnBrk="0" hangingPunct="1">
              <a:lnSpc>
                <a:spcPct val="100000"/>
              </a:lnSpc>
              <a:spcBef>
                <a:spcPts val="0"/>
              </a:spcBef>
              <a:spcAft>
                <a:spcPts val="0"/>
              </a:spcAft>
              <a:buClr>
                <a:srgbClr val="FFC000"/>
              </a:buClr>
              <a:buSzTx/>
              <a:buFontTx/>
              <a:buNone/>
              <a:tabLst/>
              <a:defRPr/>
            </a:pPr>
            <a:endParaRPr kumimoji="0" lang="en-US" sz="900" b="0" i="0" u="none" strike="noStrike" kern="1200" cap="none" spc="0" normalizeH="0" baseline="0" noProof="0" dirty="0">
              <a:ln>
                <a:noFill/>
              </a:ln>
              <a:solidFill>
                <a:srgbClr val="353535">
                  <a:lumMod val="85000"/>
                  <a:lumOff val="15000"/>
                </a:srgbClr>
              </a:solidFill>
              <a:effectLst/>
              <a:uLnTx/>
              <a:uFillTx/>
              <a:latin typeface="Segoe UI Light" panose="020B0502040204020203" pitchFamily="34" charset="0"/>
              <a:ea typeface="+mn-ea"/>
              <a:cs typeface="Segoe UI Light" panose="020B0502040204020203" pitchFamily="34" charset="0"/>
            </a:endParaRPr>
          </a:p>
          <a:p>
            <a:pPr marL="0" marR="0" lvl="0" indent="0" algn="l" defTabSz="685783" rtl="0" eaLnBrk="1" fontAlgn="auto" latinLnBrk="0" hangingPunct="1">
              <a:lnSpc>
                <a:spcPct val="100000"/>
              </a:lnSpc>
              <a:spcBef>
                <a:spcPts val="0"/>
              </a:spcBef>
              <a:spcAft>
                <a:spcPts val="0"/>
              </a:spcAft>
              <a:buClr>
                <a:srgbClr val="FFC000"/>
              </a:buClr>
              <a:buSzTx/>
              <a:buFontTx/>
              <a:buNone/>
              <a:tabLst/>
              <a:defRPr/>
            </a:pPr>
            <a:r>
              <a:rPr kumimoji="0" lang="en-US" sz="1350" b="1" i="0" u="none" strike="noStrike" kern="1200" cap="none" spc="0" normalizeH="0" baseline="0" noProof="0" dirty="0">
                <a:ln>
                  <a:noFill/>
                </a:ln>
                <a:solidFill>
                  <a:srgbClr val="FFFFFF">
                    <a:lumMod val="65000"/>
                  </a:srgbClr>
                </a:solidFill>
                <a:effectLst/>
                <a:uLnTx/>
                <a:uFillTx/>
                <a:latin typeface="Segoe UI" panose="020B0502040204020203" pitchFamily="34" charset="0"/>
                <a:ea typeface="+mn-ea"/>
                <a:cs typeface="Segoe UI" panose="020B0502040204020203" pitchFamily="34" charset="0"/>
              </a:rPr>
              <a:t>SUPPORT</a:t>
            </a:r>
          </a:p>
          <a:p>
            <a:pPr marL="0" marR="0" lvl="0" indent="0" algn="l" defTabSz="685783" rtl="0" eaLnBrk="1" fontAlgn="auto" latinLnBrk="0" hangingPunct="1">
              <a:lnSpc>
                <a:spcPct val="100000"/>
              </a:lnSpc>
              <a:spcBef>
                <a:spcPts val="0"/>
              </a:spcBef>
              <a:spcAft>
                <a:spcPts val="0"/>
              </a:spcAft>
              <a:buClr>
                <a:srgbClr val="FFC000"/>
              </a:buClr>
              <a:buSzTx/>
              <a:buFontTx/>
              <a:buNone/>
              <a:tabLst/>
              <a:defRPr/>
            </a:pPr>
            <a:r>
              <a:rPr kumimoji="0" lang="en-US" sz="1350" b="0" i="0" u="none" strike="noStrike" kern="1200" cap="none" spc="0" normalizeH="0" baseline="0" noProof="0" dirty="0">
                <a:ln>
                  <a:noFill/>
                </a:ln>
                <a:solidFill>
                  <a:srgbClr val="353535">
                    <a:lumMod val="85000"/>
                    <a:lumOff val="15000"/>
                  </a:srgbClr>
                </a:solidFill>
                <a:effectLst/>
                <a:uLnTx/>
                <a:uFillTx/>
                <a:latin typeface="Segoe UI Light" panose="020B0502040204020203" pitchFamily="34" charset="0"/>
                <a:ea typeface="+mn-ea"/>
                <a:cs typeface="Segoe UI Light" panose="020B0502040204020203" pitchFamily="34" charset="0"/>
              </a:rPr>
              <a:t>Cost governance, technical, and configuration support from our Keystone Managed Services Team</a:t>
            </a:r>
          </a:p>
        </p:txBody>
      </p:sp>
      <p:sp>
        <p:nvSpPr>
          <p:cNvPr id="5" name="Title 1">
            <a:extLst>
              <a:ext uri="{FF2B5EF4-FFF2-40B4-BE49-F238E27FC236}">
                <a16:creationId xmlns:a16="http://schemas.microsoft.com/office/drawing/2014/main" id="{186A6F75-E5FA-4AD1-A748-05E3B310E9CA}"/>
              </a:ext>
            </a:extLst>
          </p:cNvPr>
          <p:cNvSpPr txBox="1">
            <a:spLocks/>
          </p:cNvSpPr>
          <p:nvPr/>
        </p:nvSpPr>
        <p:spPr>
          <a:xfrm>
            <a:off x="167064" y="2517604"/>
            <a:ext cx="3307324" cy="662390"/>
          </a:xfrm>
          <a:prstGeom prst="rect">
            <a:avLst/>
          </a:prstGeom>
        </p:spPr>
        <p:txBody>
          <a:bodyPr vert="horz" lIns="91440" tIns="45720" rIns="91440" bIns="45720" rtlCol="0" anchor="ctr">
            <a:no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marL="0" marR="0" lvl="0" indent="0" algn="ctr" defTabSz="685783" rtl="0" eaLnBrk="1" fontAlgn="auto" latinLnBrk="0" hangingPunct="1">
              <a:lnSpc>
                <a:spcPct val="90000"/>
              </a:lnSpc>
              <a:spcBef>
                <a:spcPct val="0"/>
              </a:spcBef>
              <a:spcAft>
                <a:spcPts val="0"/>
              </a:spcAft>
              <a:buClrTx/>
              <a:buSzTx/>
              <a:buFontTx/>
              <a:buNone/>
              <a:tabLst/>
              <a:defRPr/>
            </a:pPr>
            <a:r>
              <a:rPr kumimoji="0" lang="en-US" sz="4500" b="1" i="0" u="none" strike="noStrike" kern="1200" cap="none" spc="0" normalizeH="0" baseline="0" noProof="0" dirty="0">
                <a:ln>
                  <a:noFill/>
                </a:ln>
                <a:solidFill>
                  <a:srgbClr val="D79955"/>
                </a:solidFill>
                <a:effectLst/>
                <a:uLnTx/>
                <a:uFillTx/>
                <a:latin typeface="Segoe UI Light" panose="020B0502040204020203" pitchFamily="34" charset="0"/>
                <a:ea typeface="+mj-ea"/>
                <a:cs typeface="Segoe UI Light" panose="020B0502040204020203" pitchFamily="34" charset="0"/>
              </a:rPr>
              <a:t>Accelerator</a:t>
            </a:r>
          </a:p>
        </p:txBody>
      </p:sp>
      <p:pic>
        <p:nvPicPr>
          <p:cNvPr id="7" name="Picture 6">
            <a:extLst>
              <a:ext uri="{FF2B5EF4-FFF2-40B4-BE49-F238E27FC236}">
                <a16:creationId xmlns:a16="http://schemas.microsoft.com/office/drawing/2014/main" id="{01F43C8B-B270-423E-93B1-B2604D462B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4883" y="1653009"/>
            <a:ext cx="1906904" cy="551152"/>
          </a:xfrm>
          <a:prstGeom prst="rect">
            <a:avLst/>
          </a:prstGeom>
        </p:spPr>
      </p:pic>
      <p:cxnSp>
        <p:nvCxnSpPr>
          <p:cNvPr id="8" name="Straight Connector 7">
            <a:extLst>
              <a:ext uri="{FF2B5EF4-FFF2-40B4-BE49-F238E27FC236}">
                <a16:creationId xmlns:a16="http://schemas.microsoft.com/office/drawing/2014/main" id="{B4CD06D2-6CF5-46D7-AB50-D8B7CDC7318C}"/>
              </a:ext>
            </a:extLst>
          </p:cNvPr>
          <p:cNvCxnSpPr/>
          <p:nvPr/>
        </p:nvCxnSpPr>
        <p:spPr>
          <a:xfrm>
            <a:off x="257175" y="2392556"/>
            <a:ext cx="3127102" cy="0"/>
          </a:xfrm>
          <a:prstGeom prst="line">
            <a:avLst/>
          </a:prstGeom>
          <a:ln>
            <a:solidFill>
              <a:srgbClr val="FFE593"/>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121482" y="677174"/>
            <a:ext cx="6253439" cy="0"/>
          </a:xfrm>
          <a:prstGeom prst="line">
            <a:avLst/>
          </a:prstGeom>
          <a:ln w="349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384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1290" y="202073"/>
            <a:ext cx="7543800" cy="827195"/>
          </a:xfrm>
        </p:spPr>
        <p:txBody>
          <a:bodyPr/>
          <a:lstStyle/>
          <a:p>
            <a:r>
              <a:rPr lang="en-US" dirty="0"/>
              <a:t>Next Steps, Questions, or Concerns?</a:t>
            </a:r>
          </a:p>
        </p:txBody>
      </p:sp>
      <p:pic>
        <p:nvPicPr>
          <p:cNvPr id="5" name="Picture 4"/>
          <p:cNvPicPr>
            <a:picLocks noChangeAspect="1"/>
          </p:cNvPicPr>
          <p:nvPr/>
        </p:nvPicPr>
        <p:blipFill>
          <a:blip r:embed="rId3"/>
          <a:stretch>
            <a:fillRect/>
          </a:stretch>
        </p:blipFill>
        <p:spPr>
          <a:xfrm>
            <a:off x="8118764" y="741046"/>
            <a:ext cx="953583" cy="381434"/>
          </a:xfrm>
          <a:prstGeom prst="rect">
            <a:avLst/>
          </a:prstGeom>
        </p:spPr>
      </p:pic>
      <p:pic>
        <p:nvPicPr>
          <p:cNvPr id="9" name="Picture 8">
            <a:extLst>
              <a:ext uri="{FF2B5EF4-FFF2-40B4-BE49-F238E27FC236}">
                <a16:creationId xmlns:a16="http://schemas.microsoft.com/office/drawing/2014/main" id="{D6F2C22B-B86A-4C3C-9257-89073AB4689F}"/>
              </a:ext>
            </a:extLst>
          </p:cNvPr>
          <p:cNvPicPr>
            <a:picLocks noChangeAspect="1"/>
          </p:cNvPicPr>
          <p:nvPr/>
        </p:nvPicPr>
        <p:blipFill>
          <a:blip r:embed="rId4"/>
          <a:stretch>
            <a:fillRect/>
          </a:stretch>
        </p:blipFill>
        <p:spPr>
          <a:xfrm>
            <a:off x="4564502" y="1826899"/>
            <a:ext cx="4029314" cy="1573198"/>
          </a:xfrm>
          <a:prstGeom prst="rect">
            <a:avLst/>
          </a:prstGeom>
        </p:spPr>
      </p:pic>
      <p:pic>
        <p:nvPicPr>
          <p:cNvPr id="10" name="Picture 9">
            <a:extLst>
              <a:ext uri="{FF2B5EF4-FFF2-40B4-BE49-F238E27FC236}">
                <a16:creationId xmlns:a16="http://schemas.microsoft.com/office/drawing/2014/main" id="{672D855F-0567-425B-BA02-79626A964FCA}"/>
              </a:ext>
            </a:extLst>
          </p:cNvPr>
          <p:cNvPicPr>
            <a:picLocks noChangeAspect="1"/>
          </p:cNvPicPr>
          <p:nvPr/>
        </p:nvPicPr>
        <p:blipFill>
          <a:blip r:embed="rId5"/>
          <a:stretch>
            <a:fillRect/>
          </a:stretch>
        </p:blipFill>
        <p:spPr>
          <a:xfrm>
            <a:off x="4564502" y="3089517"/>
            <a:ext cx="4291960" cy="1583233"/>
          </a:xfrm>
          <a:prstGeom prst="rect">
            <a:avLst/>
          </a:prstGeom>
        </p:spPr>
      </p:pic>
    </p:spTree>
    <p:extLst>
      <p:ext uri="{BB962C8B-B14F-4D97-AF65-F5344CB8AC3E}">
        <p14:creationId xmlns:p14="http://schemas.microsoft.com/office/powerpoint/2010/main" val="9765546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60266" y="517511"/>
            <a:ext cx="7449256" cy="1270211"/>
          </a:xfrm>
        </p:spPr>
        <p:txBody>
          <a:bodyPr>
            <a:normAutofit/>
          </a:bodyPr>
          <a:lstStyle/>
          <a:p>
            <a:r>
              <a:rPr lang="en-US" dirty="0"/>
              <a:t>					   </a:t>
            </a:r>
            <a:r>
              <a:rPr lang="en-US" sz="4500" dirty="0"/>
              <a:t>&amp;</a:t>
            </a:r>
            <a:endParaRPr lang="en-US" dirty="0"/>
          </a:p>
        </p:txBody>
      </p:sp>
      <p:pic>
        <p:nvPicPr>
          <p:cNvPr id="1026" name="Picture 2" descr="http://www.energystar.gov/ia/business/challenge/pdftemp/Softchoice-Logo-Colou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4155" y="517511"/>
            <a:ext cx="2820728" cy="102396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a:extLst>
              <a:ext uri="{BEBA8EAE-BF5A-486C-A8C5-ECC9F3942E4B}">
                <a14:imgProps xmlns:a14="http://schemas.microsoft.com/office/drawing/2010/main">
                  <a14:imgLayer r:embed="rId5">
                    <a14:imgEffect>
                      <a14:sharpenSoften amount="100000"/>
                    </a14:imgEffect>
                  </a14:imgLayer>
                </a14:imgProps>
              </a:ext>
            </a:extLst>
          </a:blip>
          <a:stretch>
            <a:fillRect/>
          </a:stretch>
        </p:blipFill>
        <p:spPr>
          <a:xfrm>
            <a:off x="5144538" y="873978"/>
            <a:ext cx="3449278" cy="1128432"/>
          </a:xfrm>
          <a:prstGeom prst="rect">
            <a:avLst/>
          </a:prstGeom>
        </p:spPr>
      </p:pic>
      <p:pic>
        <p:nvPicPr>
          <p:cNvPr id="6" name="Picture 5"/>
          <p:cNvPicPr>
            <a:picLocks noChangeAspect="1"/>
          </p:cNvPicPr>
          <p:nvPr/>
        </p:nvPicPr>
        <p:blipFill>
          <a:blip r:embed="rId6"/>
          <a:stretch>
            <a:fillRect/>
          </a:stretch>
        </p:blipFill>
        <p:spPr>
          <a:xfrm>
            <a:off x="980373" y="1807310"/>
            <a:ext cx="7411855" cy="4573"/>
          </a:xfrm>
          <a:prstGeom prst="rect">
            <a:avLst/>
          </a:prstGeom>
        </p:spPr>
      </p:pic>
      <p:sp>
        <p:nvSpPr>
          <p:cNvPr id="7" name="TextBox 6"/>
          <p:cNvSpPr txBox="1"/>
          <p:nvPr/>
        </p:nvSpPr>
        <p:spPr>
          <a:xfrm>
            <a:off x="259090" y="3449158"/>
            <a:ext cx="4670857" cy="523220"/>
          </a:xfrm>
          <a:prstGeom prst="rect">
            <a:avLst/>
          </a:prstGeom>
          <a:noFill/>
        </p:spPr>
        <p:txBody>
          <a:bodyPr wrap="square" rtlCol="0">
            <a:spAutoFit/>
          </a:bodyPr>
          <a:lstStyle/>
          <a:p>
            <a:pPr defTabSz="342900"/>
            <a:r>
              <a:rPr lang="en-US" sz="1400" dirty="0">
                <a:solidFill>
                  <a:srgbClr val="000000"/>
                </a:solidFill>
                <a:latin typeface="Calibri" panose="020F0502020204030204"/>
              </a:rPr>
              <a:t>Will Miller – Sales Manager, CAMSA</a:t>
            </a:r>
          </a:p>
          <a:p>
            <a:pPr defTabSz="342900"/>
            <a:r>
              <a:rPr lang="en-US" sz="1400" dirty="0">
                <a:solidFill>
                  <a:srgbClr val="000000"/>
                </a:solidFill>
                <a:latin typeface="Calibri" panose="020F0502020204030204"/>
              </a:rPr>
              <a:t>Douglas Burge – Sr. Sales Representative, Bay Area</a:t>
            </a:r>
          </a:p>
        </p:txBody>
      </p:sp>
      <p:cxnSp>
        <p:nvCxnSpPr>
          <p:cNvPr id="9" name="Straight Connector 8"/>
          <p:cNvCxnSpPr/>
          <p:nvPr/>
        </p:nvCxnSpPr>
        <p:spPr>
          <a:xfrm>
            <a:off x="980372" y="1807310"/>
            <a:ext cx="7406640" cy="0"/>
          </a:xfrm>
          <a:prstGeom prst="line">
            <a:avLst/>
          </a:prstGeom>
          <a:ln/>
        </p:spPr>
        <p:style>
          <a:lnRef idx="1">
            <a:schemeClr val="dk1"/>
          </a:lnRef>
          <a:fillRef idx="0">
            <a:schemeClr val="dk1"/>
          </a:fillRef>
          <a:effectRef idx="0">
            <a:schemeClr val="dk1"/>
          </a:effectRef>
          <a:fontRef idx="minor">
            <a:schemeClr val="tx1"/>
          </a:fontRef>
        </p:style>
      </p:cxnSp>
      <p:pic>
        <p:nvPicPr>
          <p:cNvPr id="10" name="Picture 9">
            <a:extLst>
              <a:ext uri="{FF2B5EF4-FFF2-40B4-BE49-F238E27FC236}">
                <a16:creationId xmlns:a16="http://schemas.microsoft.com/office/drawing/2014/main" id="{AD5C9FFD-76F7-4F87-AA4B-A1C17356E669}"/>
              </a:ext>
            </a:extLst>
          </p:cNvPr>
          <p:cNvPicPr>
            <a:picLocks noChangeAspect="1"/>
          </p:cNvPicPr>
          <p:nvPr/>
        </p:nvPicPr>
        <p:blipFill>
          <a:blip r:embed="rId7"/>
          <a:stretch>
            <a:fillRect/>
          </a:stretch>
        </p:blipFill>
        <p:spPr>
          <a:xfrm>
            <a:off x="4564502" y="1826899"/>
            <a:ext cx="4029314" cy="1573198"/>
          </a:xfrm>
          <a:prstGeom prst="rect">
            <a:avLst/>
          </a:prstGeom>
        </p:spPr>
      </p:pic>
      <p:pic>
        <p:nvPicPr>
          <p:cNvPr id="11" name="Picture 10">
            <a:extLst>
              <a:ext uri="{FF2B5EF4-FFF2-40B4-BE49-F238E27FC236}">
                <a16:creationId xmlns:a16="http://schemas.microsoft.com/office/drawing/2014/main" id="{5204791E-52FA-47B5-9236-B8FC4C5AB341}"/>
              </a:ext>
            </a:extLst>
          </p:cNvPr>
          <p:cNvPicPr>
            <a:picLocks noChangeAspect="1"/>
          </p:cNvPicPr>
          <p:nvPr/>
        </p:nvPicPr>
        <p:blipFill>
          <a:blip r:embed="rId8"/>
          <a:stretch>
            <a:fillRect/>
          </a:stretch>
        </p:blipFill>
        <p:spPr>
          <a:xfrm>
            <a:off x="4564502" y="3089517"/>
            <a:ext cx="4291960" cy="1583233"/>
          </a:xfrm>
          <a:prstGeom prst="rect">
            <a:avLst/>
          </a:prstGeom>
        </p:spPr>
      </p:pic>
      <p:sp>
        <p:nvSpPr>
          <p:cNvPr id="12" name="TextBox 11"/>
          <p:cNvSpPr txBox="1"/>
          <p:nvPr/>
        </p:nvSpPr>
        <p:spPr>
          <a:xfrm>
            <a:off x="259089" y="2166952"/>
            <a:ext cx="4617711" cy="400110"/>
          </a:xfrm>
          <a:prstGeom prst="rect">
            <a:avLst/>
          </a:prstGeom>
          <a:noFill/>
        </p:spPr>
        <p:txBody>
          <a:bodyPr wrap="square" rtlCol="0">
            <a:spAutoFit/>
          </a:bodyPr>
          <a:lstStyle/>
          <a:p>
            <a:pPr defTabSz="342900"/>
            <a:r>
              <a:rPr lang="en-US" sz="2000" dirty="0">
                <a:solidFill>
                  <a:srgbClr val="000000"/>
                </a:solidFill>
                <a:latin typeface="Calibri" panose="020F0502020204030204"/>
              </a:rPr>
              <a:t>CAMSA Road Tour</a:t>
            </a:r>
          </a:p>
        </p:txBody>
      </p:sp>
    </p:spTree>
    <p:extLst>
      <p:ext uri="{BB962C8B-B14F-4D97-AF65-F5344CB8AC3E}">
        <p14:creationId xmlns:p14="http://schemas.microsoft.com/office/powerpoint/2010/main" val="41823422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0539" y="71531"/>
            <a:ext cx="7543800" cy="907527"/>
          </a:xfrm>
        </p:spPr>
        <p:txBody>
          <a:bodyPr/>
          <a:lstStyle/>
          <a:p>
            <a:r>
              <a:rPr lang="en-US" dirty="0"/>
              <a:t>Agenda</a:t>
            </a:r>
          </a:p>
        </p:txBody>
      </p:sp>
      <p:sp>
        <p:nvSpPr>
          <p:cNvPr id="3" name="Content Placeholder 2"/>
          <p:cNvSpPr>
            <a:spLocks noGrp="1"/>
          </p:cNvSpPr>
          <p:nvPr>
            <p:ph idx="1"/>
          </p:nvPr>
        </p:nvSpPr>
        <p:spPr>
          <a:xfrm>
            <a:off x="780539" y="1264109"/>
            <a:ext cx="7543800" cy="3017520"/>
          </a:xfrm>
        </p:spPr>
        <p:txBody>
          <a:bodyPr vert="horz" lIns="0" tIns="45720" rIns="0" bIns="45720" rtlCol="0" anchor="t">
            <a:normAutofit/>
          </a:bodyPr>
          <a:lstStyle/>
          <a:p>
            <a:pPr marL="287655" lvl="1">
              <a:lnSpc>
                <a:spcPct val="150000"/>
              </a:lnSpc>
              <a:buFont typeface="Courier New" panose="02070309020205020404" pitchFamily="49" charset="0"/>
              <a:buChar char="o"/>
            </a:pPr>
            <a:r>
              <a:rPr lang="en-US" sz="1500" dirty="0">
                <a:latin typeface="Calibri Light" panose="020F0302020204030204" pitchFamily="34" charset="0"/>
                <a:cs typeface="Calibri Light" panose="020F0302020204030204" pitchFamily="34" charset="0"/>
              </a:rPr>
              <a:t>Softchoice CAMSA Support Structure</a:t>
            </a:r>
          </a:p>
          <a:p>
            <a:pPr marL="287655" lvl="1">
              <a:lnSpc>
                <a:spcPct val="150000"/>
              </a:lnSpc>
              <a:buFont typeface="Courier New" panose="02070309020205020404" pitchFamily="49" charset="0"/>
              <a:buChar char="o"/>
            </a:pPr>
            <a:r>
              <a:rPr lang="en-US" sz="1500" dirty="0">
                <a:latin typeface="Calibri Light" panose="020F0302020204030204" pitchFamily="34" charset="0"/>
                <a:cs typeface="Calibri Light" panose="020F0302020204030204" pitchFamily="34" charset="0"/>
              </a:rPr>
              <a:t>Softchoice Contract Management Process</a:t>
            </a:r>
          </a:p>
          <a:p>
            <a:pPr marL="287655" lvl="1">
              <a:lnSpc>
                <a:spcPct val="150000"/>
              </a:lnSpc>
              <a:buFont typeface="Courier New" panose="02070309020205020404" pitchFamily="49" charset="0"/>
              <a:buChar char="o"/>
            </a:pPr>
            <a:r>
              <a:rPr lang="en-US" sz="1500" dirty="0">
                <a:latin typeface="Calibri Light" panose="020F0302020204030204" pitchFamily="34" charset="0"/>
                <a:cs typeface="Calibri Light" panose="020F0302020204030204" pitchFamily="34" charset="0"/>
              </a:rPr>
              <a:t>CAMSA 2.0</a:t>
            </a:r>
          </a:p>
          <a:p>
            <a:pPr marL="287655" lvl="1">
              <a:lnSpc>
                <a:spcPct val="150000"/>
              </a:lnSpc>
              <a:buFont typeface="Courier New" panose="02070309020205020404" pitchFamily="49" charset="0"/>
              <a:buChar char="o"/>
            </a:pPr>
            <a:r>
              <a:rPr lang="en-US" sz="1500" dirty="0">
                <a:latin typeface="Calibri Light" panose="020F0302020204030204" pitchFamily="34" charset="0"/>
                <a:cs typeface="Calibri Light" panose="020F0302020204030204" pitchFamily="34" charset="0"/>
              </a:rPr>
              <a:t>Softchoice Service Offerings</a:t>
            </a:r>
          </a:p>
          <a:p>
            <a:pPr marL="287655" lvl="1">
              <a:lnSpc>
                <a:spcPct val="150000"/>
              </a:lnSpc>
              <a:buFont typeface="Courier New" panose="02070309020205020404" pitchFamily="49" charset="0"/>
              <a:buChar char="o"/>
            </a:pPr>
            <a:r>
              <a:rPr lang="en-US" sz="1500" dirty="0">
                <a:latin typeface="Calibri Light" panose="020F0302020204030204" pitchFamily="34" charset="0"/>
                <a:cs typeface="Calibri Light" panose="020F0302020204030204" pitchFamily="34" charset="0"/>
              </a:rPr>
              <a:t>Questions/Wrap</a:t>
            </a:r>
          </a:p>
          <a:p>
            <a:pPr marL="150495" lvl="1" indent="0">
              <a:lnSpc>
                <a:spcPct val="150000"/>
              </a:lnSpc>
              <a:buNone/>
            </a:pPr>
            <a:endParaRPr lang="en-US" sz="1500" dirty="0">
              <a:latin typeface="+mj-lt"/>
            </a:endParaRPr>
          </a:p>
        </p:txBody>
      </p:sp>
      <p:pic>
        <p:nvPicPr>
          <p:cNvPr id="4" name="Picture 3"/>
          <p:cNvPicPr>
            <a:picLocks noChangeAspect="1"/>
          </p:cNvPicPr>
          <p:nvPr/>
        </p:nvPicPr>
        <p:blipFill>
          <a:blip r:embed="rId3"/>
          <a:stretch>
            <a:fillRect/>
          </a:stretch>
        </p:blipFill>
        <p:spPr>
          <a:xfrm>
            <a:off x="8118764" y="741046"/>
            <a:ext cx="953583" cy="381434"/>
          </a:xfrm>
          <a:prstGeom prst="rect">
            <a:avLst/>
          </a:prstGeom>
        </p:spPr>
      </p:pic>
    </p:spTree>
    <p:extLst>
      <p:ext uri="{BB962C8B-B14F-4D97-AF65-F5344CB8AC3E}">
        <p14:creationId xmlns:p14="http://schemas.microsoft.com/office/powerpoint/2010/main" val="30441795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Softchoice Support Structure</a:t>
            </a:r>
          </a:p>
        </p:txBody>
      </p:sp>
    </p:spTree>
    <p:extLst>
      <p:ext uri="{BB962C8B-B14F-4D97-AF65-F5344CB8AC3E}">
        <p14:creationId xmlns:p14="http://schemas.microsoft.com/office/powerpoint/2010/main" val="35277880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8118764" y="741046"/>
            <a:ext cx="953583" cy="381434"/>
          </a:xfrm>
          <a:prstGeom prst="rect">
            <a:avLst/>
          </a:prstGeom>
        </p:spPr>
      </p:pic>
      <p:sp>
        <p:nvSpPr>
          <p:cNvPr id="5" name="Rectangle 4"/>
          <p:cNvSpPr/>
          <p:nvPr/>
        </p:nvSpPr>
        <p:spPr>
          <a:xfrm>
            <a:off x="7257143" y="834571"/>
            <a:ext cx="769257" cy="457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p:nvPicPr>
        <p:blipFill>
          <a:blip r:embed="rId4"/>
          <a:stretch>
            <a:fillRect/>
          </a:stretch>
        </p:blipFill>
        <p:spPr>
          <a:xfrm>
            <a:off x="1016480" y="0"/>
            <a:ext cx="6012677" cy="4667183"/>
          </a:xfrm>
          <a:prstGeom prst="rect">
            <a:avLst/>
          </a:prstGeom>
        </p:spPr>
      </p:pic>
      <p:sp>
        <p:nvSpPr>
          <p:cNvPr id="6" name="Rectangle 5"/>
          <p:cNvSpPr/>
          <p:nvPr/>
        </p:nvSpPr>
        <p:spPr>
          <a:xfrm>
            <a:off x="628357" y="876886"/>
            <a:ext cx="492369" cy="2455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6832424" y="944546"/>
            <a:ext cx="492369" cy="2455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2758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Softchoice Contract Management Process</a:t>
            </a:r>
          </a:p>
        </p:txBody>
      </p:sp>
    </p:spTree>
    <p:extLst>
      <p:ext uri="{BB962C8B-B14F-4D97-AF65-F5344CB8AC3E}">
        <p14:creationId xmlns:p14="http://schemas.microsoft.com/office/powerpoint/2010/main" val="40606621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icrosoft Enterprise Lifecycle Management (ELM)</a:t>
            </a:r>
          </a:p>
        </p:txBody>
      </p:sp>
      <p:sp>
        <p:nvSpPr>
          <p:cNvPr id="3" name="Text Placeholder 2"/>
          <p:cNvSpPr>
            <a:spLocks noGrp="1"/>
          </p:cNvSpPr>
          <p:nvPr>
            <p:ph type="body" sz="quarter" idx="11"/>
          </p:nvPr>
        </p:nvSpPr>
        <p:spPr>
          <a:xfrm>
            <a:off x="121482" y="796625"/>
            <a:ext cx="5794051" cy="615278"/>
          </a:xfrm>
        </p:spPr>
        <p:txBody>
          <a:bodyPr/>
          <a:lstStyle/>
          <a:p>
            <a:pPr marL="0" indent="0">
              <a:buNone/>
            </a:pPr>
            <a:r>
              <a:rPr lang="en-US" dirty="0"/>
              <a:t>3 Common Challenges</a:t>
            </a:r>
          </a:p>
        </p:txBody>
      </p:sp>
      <p:sp>
        <p:nvSpPr>
          <p:cNvPr id="4" name="TextBox 3">
            <a:extLst>
              <a:ext uri="{FF2B5EF4-FFF2-40B4-BE49-F238E27FC236}">
                <a16:creationId xmlns:a16="http://schemas.microsoft.com/office/drawing/2014/main" id="{05B80390-0B84-41C3-8A4C-C1713B69E0A8}"/>
              </a:ext>
            </a:extLst>
          </p:cNvPr>
          <p:cNvSpPr txBox="1"/>
          <p:nvPr/>
        </p:nvSpPr>
        <p:spPr>
          <a:xfrm>
            <a:off x="608512" y="1648420"/>
            <a:ext cx="3759910" cy="1015663"/>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Licensing chang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Asset Visibilit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License Optimization</a:t>
            </a:r>
          </a:p>
        </p:txBody>
      </p:sp>
    </p:spTree>
    <p:extLst>
      <p:ext uri="{BB962C8B-B14F-4D97-AF65-F5344CB8AC3E}">
        <p14:creationId xmlns:p14="http://schemas.microsoft.com/office/powerpoint/2010/main" val="176570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3C8A1-E0D2-4CD2-BDE2-F836A1FEC4F6}"/>
              </a:ext>
            </a:extLst>
          </p:cNvPr>
          <p:cNvSpPr>
            <a:spLocks noGrp="1"/>
          </p:cNvSpPr>
          <p:nvPr>
            <p:ph type="title"/>
          </p:nvPr>
        </p:nvSpPr>
        <p:spPr/>
        <p:txBody>
          <a:bodyPr>
            <a:normAutofit/>
          </a:bodyPr>
          <a:lstStyle/>
          <a:p>
            <a:r>
              <a:rPr lang="en-US" sz="2300" dirty="0">
                <a:effectLst>
                  <a:outerShdw blurRad="38100" dist="38100" dir="2700000" algn="tl">
                    <a:srgbClr val="000000">
                      <a:alpha val="43137"/>
                    </a:srgbClr>
                  </a:outerShdw>
                </a:effectLst>
              </a:rPr>
              <a:t>Softchoice Contract Value Process</a:t>
            </a:r>
          </a:p>
        </p:txBody>
      </p:sp>
      <p:pic>
        <p:nvPicPr>
          <p:cNvPr id="2050" name="Picture 2" descr="image001">
            <a:extLst>
              <a:ext uri="{FF2B5EF4-FFF2-40B4-BE49-F238E27FC236}">
                <a16:creationId xmlns:a16="http://schemas.microsoft.com/office/drawing/2014/main" id="{A879E67A-7394-4D36-A684-44FB3571C1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7170" y="921745"/>
            <a:ext cx="7653063" cy="192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377F533C-B522-4115-AEA1-12BA4D3656AF}"/>
              </a:ext>
            </a:extLst>
          </p:cNvPr>
          <p:cNvSpPr txBox="1"/>
          <p:nvPr/>
        </p:nvSpPr>
        <p:spPr>
          <a:xfrm>
            <a:off x="482138" y="2876205"/>
            <a:ext cx="8102138" cy="2111347"/>
          </a:xfrm>
          <a:prstGeom prst="rect">
            <a:avLst/>
          </a:prstGeom>
          <a:noFill/>
        </p:spPr>
        <p:txBody>
          <a:bodyPr wrap="square" lIns="182880" tIns="146304" rIns="182880" bIns="146304" rtlCol="0">
            <a:spAutoFit/>
          </a:bodyPr>
          <a:lstStyle/>
          <a:p>
            <a:pPr marL="342900" marR="0" lvl="0" indent="-342900" algn="l" defTabSz="457200" rtl="0" eaLnBrk="1" fontAlgn="auto" latinLnBrk="0" hangingPunct="1">
              <a:lnSpc>
                <a:spcPct val="90000"/>
              </a:lnSpc>
              <a:spcBef>
                <a:spcPts val="0"/>
              </a:spcBef>
              <a:spcAft>
                <a:spcPts val="600"/>
              </a:spcAft>
              <a:buClr>
                <a:srgbClr val="ED6925"/>
              </a:buClr>
              <a:buSzTx/>
              <a:buFont typeface="Courier New" panose="02070309020205020404" pitchFamily="49" charset="0"/>
              <a:buChar char="o"/>
              <a:tabLst/>
              <a:defRPr/>
            </a:pPr>
            <a:r>
              <a:rPr kumimoji="0" lang="en-US" sz="20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Review your Licensing Entitlements, cloud usage, and Software Assurance usage with our Microsoft Solutions Specialists</a:t>
            </a:r>
          </a:p>
          <a:p>
            <a:pPr marL="342900" marR="0" lvl="0" indent="-342900" algn="l" defTabSz="457200" rtl="0" eaLnBrk="1" fontAlgn="auto" latinLnBrk="0" hangingPunct="1">
              <a:lnSpc>
                <a:spcPct val="90000"/>
              </a:lnSpc>
              <a:spcBef>
                <a:spcPts val="0"/>
              </a:spcBef>
              <a:spcAft>
                <a:spcPts val="600"/>
              </a:spcAft>
              <a:buClr>
                <a:srgbClr val="ED6925"/>
              </a:buClr>
              <a:buSzTx/>
              <a:buFont typeface="Courier New" panose="02070309020205020404" pitchFamily="49" charset="0"/>
              <a:buChar char="o"/>
              <a:tabLst/>
              <a:defRPr/>
            </a:pPr>
            <a:r>
              <a:rPr kumimoji="0" lang="en-US" sz="20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iscuss product and licensing changes and the potential impact to your agreement</a:t>
            </a:r>
          </a:p>
          <a:p>
            <a:pPr marL="342900" marR="0" lvl="0" indent="-342900" algn="l" defTabSz="457200" rtl="0" eaLnBrk="1" fontAlgn="auto" latinLnBrk="0" hangingPunct="1">
              <a:lnSpc>
                <a:spcPct val="90000"/>
              </a:lnSpc>
              <a:spcBef>
                <a:spcPts val="0"/>
              </a:spcBef>
              <a:spcAft>
                <a:spcPts val="600"/>
              </a:spcAft>
              <a:buClr>
                <a:srgbClr val="ED6925"/>
              </a:buClr>
              <a:buSzTx/>
              <a:buFont typeface="Courier New" panose="02070309020205020404" pitchFamily="49" charset="0"/>
              <a:buChar char="o"/>
              <a:tabLst/>
              <a:defRPr/>
            </a:pPr>
            <a:r>
              <a:rPr kumimoji="0" lang="en-US" sz="2000" b="0" i="0" u="none" strike="noStrike" kern="1200" cap="none" spc="0" normalizeH="0" baseline="0" noProof="0" dirty="0">
                <a:ln>
                  <a:noFill/>
                </a:ln>
                <a:gradFill>
                  <a:gsLst>
                    <a:gs pos="2917">
                      <a:srgbClr val="353535"/>
                    </a:gs>
                    <a:gs pos="30000">
                      <a:srgbClr val="353535"/>
                    </a:gs>
                  </a:gsLst>
                  <a:lin ang="5400000" scaled="0"/>
                </a:gradFill>
                <a:effectLst/>
                <a:uLnTx/>
                <a:uFillTx/>
                <a:latin typeface="Segoe UI Semilight"/>
                <a:ea typeface="+mn-ea"/>
                <a:cs typeface="+mn-cs"/>
              </a:rPr>
              <a:t>Develop a plan to activate and use the products and services available through the license agreement</a:t>
            </a:r>
          </a:p>
        </p:txBody>
      </p:sp>
      <p:pic>
        <p:nvPicPr>
          <p:cNvPr id="5" name="Picture 4">
            <a:hlinkClick r:id="rId3" action="ppaction://hlinksldjump"/>
            <a:extLst>
              <a:ext uri="{FF2B5EF4-FFF2-40B4-BE49-F238E27FC236}">
                <a16:creationId xmlns:a16="http://schemas.microsoft.com/office/drawing/2014/main" id="{AE7FA877-3681-49B0-8888-09C04B4C6D97}"/>
              </a:ext>
            </a:extLst>
          </p:cNvPr>
          <p:cNvPicPr>
            <a:picLocks noChangeAspect="1"/>
          </p:cNvPicPr>
          <p:nvPr/>
        </p:nvPicPr>
        <p:blipFill>
          <a:blip r:embed="rId4"/>
          <a:stretch>
            <a:fillRect/>
          </a:stretch>
        </p:blipFill>
        <p:spPr>
          <a:xfrm>
            <a:off x="8224669" y="4693919"/>
            <a:ext cx="838539" cy="364718"/>
          </a:xfrm>
          <a:prstGeom prst="rect">
            <a:avLst/>
          </a:prstGeom>
        </p:spPr>
      </p:pic>
    </p:spTree>
    <p:extLst>
      <p:ext uri="{BB962C8B-B14F-4D97-AF65-F5344CB8AC3E}">
        <p14:creationId xmlns:p14="http://schemas.microsoft.com/office/powerpoint/2010/main" val="2119997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CAMSA 2.0</a:t>
            </a:r>
          </a:p>
        </p:txBody>
      </p:sp>
    </p:spTree>
    <p:extLst>
      <p:ext uri="{BB962C8B-B14F-4D97-AF65-F5344CB8AC3E}">
        <p14:creationId xmlns:p14="http://schemas.microsoft.com/office/powerpoint/2010/main" val="24145987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MICROSOFT_TRANSLATOR_CLM_SLIDEINFO" val="{&quot;Guid&quot;:&quot;c68ec389-fdd9-4249-af5e-6b1af710922b&quot;,&quot;TimeStamp&quot;:&quot;2018-09-26T08:44:46.7507998-07:00&quot;}"/>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c68ec389-fdd9-4249-af5e-6b1af710922b&quot;,&quot;TimeStamp&quot;:&quot;2018-09-26T08:44:46.7507998-07:00&quot;}"/>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c68ec389-fdd9-4249-af5e-6b1af710922b&quot;,&quot;TimeStamp&quot;:&quot;2018-09-26T08:44:46.7507998-07:00&quot;}"/>
</p:tagLst>
</file>

<file path=ppt/theme/theme1.xml><?xml version="1.0" encoding="utf-8"?>
<a:theme xmlns:a="http://schemas.openxmlformats.org/drawingml/2006/main" name="Softchoice_Corporate_Template_WIDE_2014">
  <a:themeElements>
    <a:clrScheme name="Softchoice Brand Colors (2017) 1">
      <a:dk1>
        <a:srgbClr val="000000"/>
      </a:dk1>
      <a:lt1>
        <a:srgbClr val="FFFFFF"/>
      </a:lt1>
      <a:dk2>
        <a:srgbClr val="919191"/>
      </a:dk2>
      <a:lt2>
        <a:srgbClr val="D5D5D5"/>
      </a:lt2>
      <a:accent1>
        <a:srgbClr val="FFDB4F"/>
      </a:accent1>
      <a:accent2>
        <a:srgbClr val="9919A8"/>
      </a:accent2>
      <a:accent3>
        <a:srgbClr val="79A3D6"/>
      </a:accent3>
      <a:accent4>
        <a:srgbClr val="9FBF13"/>
      </a:accent4>
      <a:accent5>
        <a:srgbClr val="FEFFFF"/>
      </a:accent5>
      <a:accent6>
        <a:srgbClr val="FEFFFF"/>
      </a:accent6>
      <a:hlink>
        <a:srgbClr val="0432FF"/>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oftchoice_Corporate_Template_2017.potx" id="{267C02F7-8877-3843-B42D-A2B729F4C511}" vid="{62C5F57A-6654-EB4D-8715-969E7F4CB87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3-50088_Microsoft_Inspire_Template">
  <a:themeElements>
    <a:clrScheme name="Microsoft Inspire">
      <a:dk1>
        <a:srgbClr val="353535"/>
      </a:dk1>
      <a:lt1>
        <a:srgbClr val="FFFFFF"/>
      </a:lt1>
      <a:dk2>
        <a:srgbClr val="5C2D91"/>
      </a:dk2>
      <a:lt2>
        <a:srgbClr val="E6E6E6"/>
      </a:lt2>
      <a:accent1>
        <a:srgbClr val="5C2D91"/>
      </a:accent1>
      <a:accent2>
        <a:srgbClr val="00188F"/>
      </a:accent2>
      <a:accent3>
        <a:srgbClr val="737373"/>
      </a:accent3>
      <a:accent4>
        <a:srgbClr val="002050"/>
      </a:accent4>
      <a:accent5>
        <a:srgbClr val="0078D7"/>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2017_Breakout_Template.potx" id="{3CDC1B93-BD8E-4F1F-AF9B-D56C06BDD095}" vid="{FF6A3A47-4C82-49FB-AFA4-303C22998115}"/>
    </a:ext>
  </a:extLst>
</a:theme>
</file>

<file path=ppt/theme/theme5.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Softchoice Corporate Template-2017">
  <a:themeElements>
    <a:clrScheme name="Softchoice Brand Colors - 2017">
      <a:dk1>
        <a:srgbClr val="000000"/>
      </a:dk1>
      <a:lt1>
        <a:srgbClr val="FEFFFF"/>
      </a:lt1>
      <a:dk2>
        <a:srgbClr val="44546A"/>
      </a:dk2>
      <a:lt2>
        <a:srgbClr val="9919A7"/>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oftchoice_Corporate_Template_2017.potx" id="{F5DDB041-3131-834A-9DF2-15AD676AE9C9}" vid="{C88D0681-54CE-C54F-A251-5E3112EAEC81}"/>
    </a:ext>
  </a:extLst>
</a:theme>
</file>

<file path=ppt/theme/theme7.xml><?xml version="1.0" encoding="utf-8"?>
<a:theme xmlns:a="http://schemas.openxmlformats.org/drawingml/2006/main" name="14_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3-50088_Microsoft_Inspire_Template">
  <a:themeElements>
    <a:clrScheme name="Microsoft Inspire">
      <a:dk1>
        <a:srgbClr val="353535"/>
      </a:dk1>
      <a:lt1>
        <a:srgbClr val="FFFFFF"/>
      </a:lt1>
      <a:dk2>
        <a:srgbClr val="5C2D91"/>
      </a:dk2>
      <a:lt2>
        <a:srgbClr val="E6E6E6"/>
      </a:lt2>
      <a:accent1>
        <a:srgbClr val="5C2D91"/>
      </a:accent1>
      <a:accent2>
        <a:srgbClr val="00188F"/>
      </a:accent2>
      <a:accent3>
        <a:srgbClr val="737373"/>
      </a:accent3>
      <a:accent4>
        <a:srgbClr val="002050"/>
      </a:accent4>
      <a:accent5>
        <a:srgbClr val="0078D7"/>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2017_Breakout_Template.potx" id="{3CDC1B93-BD8E-4F1F-AF9B-D56C06BDD095}" vid="{FF6A3A47-4C82-49FB-AFA4-303C2299811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B8956869169D246B53B17713F765A85" ma:contentTypeVersion="4" ma:contentTypeDescription="Create a new document." ma:contentTypeScope="" ma:versionID="832776091484173fb0c2c0d17c95d851">
  <xsd:schema xmlns:xsd="http://www.w3.org/2001/XMLSchema" xmlns:xs="http://www.w3.org/2001/XMLSchema" xmlns:p="http://schemas.microsoft.com/office/2006/metadata/properties" xmlns:ns2="c3b29f35-6148-469f-9a47-ac2fe398ef7e" xmlns:ns3="5515e920-3de8-42ce-bfb1-5b077d6d8a2f" targetNamespace="http://schemas.microsoft.com/office/2006/metadata/properties" ma:root="true" ma:fieldsID="99c305114fdfe0eccde0cac184ebd2f3" ns2:_="" ns3:_="">
    <xsd:import namespace="c3b29f35-6148-469f-9a47-ac2fe398ef7e"/>
    <xsd:import namespace="5515e920-3de8-42ce-bfb1-5b077d6d8a2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b29f35-6148-469f-9a47-ac2fe398ef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515e920-3de8-42ce-bfb1-5b077d6d8a2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5515e920-3de8-42ce-bfb1-5b077d6d8a2f">
      <UserInfo>
        <DisplayName>Domenic Di Carlo</DisplayName>
        <AccountId>2084</AccountId>
        <AccountType/>
      </UserInfo>
      <UserInfo>
        <DisplayName>Gustavo Aguiar</DisplayName>
        <AccountId>4994</AccountId>
        <AccountType/>
      </UserInfo>
      <UserInfo>
        <DisplayName>Charles Johnston</DisplayName>
        <AccountId>3323</AccountId>
        <AccountType/>
      </UserInfo>
      <UserInfo>
        <DisplayName>David Brewer</DisplayName>
        <AccountId>2301</AccountId>
        <AccountType/>
      </UserInfo>
      <UserInfo>
        <DisplayName>Matthew Rider</DisplayName>
        <AccountId>346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040D16-6F98-4058-8B65-AA15508B44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b29f35-6148-469f-9a47-ac2fe398ef7e"/>
    <ds:schemaRef ds:uri="5515e920-3de8-42ce-bfb1-5b077d6d8a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D1B7FC-2327-44C9-8FA8-056A23B19FBD}">
  <ds:schemaRefs>
    <ds:schemaRef ds:uri="c3b29f35-6148-469f-9a47-ac2fe398ef7e"/>
    <ds:schemaRef ds:uri="http://purl.org/dc/elements/1.1/"/>
    <ds:schemaRef ds:uri="http://purl.org/dc/dcmitype/"/>
    <ds:schemaRef ds:uri="http://schemas.openxmlformats.org/package/2006/metadata/core-properties"/>
    <ds:schemaRef ds:uri="http://purl.org/dc/terms/"/>
    <ds:schemaRef ds:uri="5515e920-3de8-42ce-bfb1-5b077d6d8a2f"/>
    <ds:schemaRef ds:uri="http://www.w3.org/XML/1998/namespace"/>
    <ds:schemaRef ds:uri="http://schemas.microsoft.com/office/2006/documentManagement/types"/>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6C389E01-AA40-4157-BCAB-9B068FB59C6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155</TotalTime>
  <Words>1292</Words>
  <Application>Microsoft Office PowerPoint</Application>
  <PresentationFormat>On-screen Show (16:9)</PresentationFormat>
  <Paragraphs>209</Paragraphs>
  <Slides>19</Slides>
  <Notes>10</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19</vt:i4>
      </vt:variant>
    </vt:vector>
  </HeadingPairs>
  <TitlesOfParts>
    <vt:vector size="40" baseType="lpstr">
      <vt:lpstr>Arial</vt:lpstr>
      <vt:lpstr>Calibri</vt:lpstr>
      <vt:lpstr>Calibri Light</vt:lpstr>
      <vt:lpstr>Consolas</vt:lpstr>
      <vt:lpstr>Courier New</vt:lpstr>
      <vt:lpstr>Helvetica</vt:lpstr>
      <vt:lpstr>Segoe UI</vt:lpstr>
      <vt:lpstr>Segoe UI Light</vt:lpstr>
      <vt:lpstr>Segoe UI Semibold</vt:lpstr>
      <vt:lpstr>Segoe UI Semilight</vt:lpstr>
      <vt:lpstr>Wingdings</vt:lpstr>
      <vt:lpstr>Softchoice_Corporate_Template_WIDE_2014</vt:lpstr>
      <vt:lpstr>Retrospect</vt:lpstr>
      <vt:lpstr>Office Theme</vt:lpstr>
      <vt:lpstr>1_3-50088_Microsoft_Inspire_Template</vt:lpstr>
      <vt:lpstr>1_Custom Design</vt:lpstr>
      <vt:lpstr>Softchoice Corporate Template-2017</vt:lpstr>
      <vt:lpstr>14_Windows 10 Brand Template 16x9</vt:lpstr>
      <vt:lpstr>1_Office Theme</vt:lpstr>
      <vt:lpstr>2_3-50088_Microsoft_Inspire_Template</vt:lpstr>
      <vt:lpstr>think-cell Slide</vt:lpstr>
      <vt:lpstr>PowerPoint Presentation</vt:lpstr>
      <vt:lpstr>        &amp;</vt:lpstr>
      <vt:lpstr>Agenda</vt:lpstr>
      <vt:lpstr>Softchoice Support Structure</vt:lpstr>
      <vt:lpstr>PowerPoint Presentation</vt:lpstr>
      <vt:lpstr>Softchoice Contract Management Process</vt:lpstr>
      <vt:lpstr>Microsoft Enterprise Lifecycle Management (ELM)</vt:lpstr>
      <vt:lpstr>Softchoice Contract Value Process</vt:lpstr>
      <vt:lpstr>CAMSA 2.0</vt:lpstr>
      <vt:lpstr>Then: Education Desktop and now: Microsoft 365 Education </vt:lpstr>
      <vt:lpstr>Then: Education Desktop and now: Microsoft 365 Education </vt:lpstr>
      <vt:lpstr>Then: Education Desktop and now: Microsoft 365 Education </vt:lpstr>
      <vt:lpstr>Softchoice Services &amp; Microsoft Cloud</vt:lpstr>
      <vt:lpstr>Softchoice Service Offerings</vt:lpstr>
      <vt:lpstr>What are the risks?</vt:lpstr>
      <vt:lpstr>Planning your migration to the Cloud</vt:lpstr>
      <vt:lpstr>Softchoice Services</vt:lpstr>
      <vt:lpstr>Softchoice Azure Accelerator</vt:lpstr>
      <vt:lpstr>Next Steps, Questions, or Concer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NAME #</dc:title>
  <dc:creator>Edwin Vergara</dc:creator>
  <cp:lastModifiedBy>William Miller</cp:lastModifiedBy>
  <cp:revision>125</cp:revision>
  <dcterms:modified xsi:type="dcterms:W3CDTF">2019-10-09T13:5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8956869169D246B53B17713F765A85</vt:lpwstr>
  </property>
</Properties>
</file>